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5.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731" r:id="rId4"/>
    <p:sldMasterId id="2147484776" r:id="rId5"/>
    <p:sldMasterId id="2147484814" r:id="rId6"/>
    <p:sldMasterId id="2147484862" r:id="rId7"/>
    <p:sldMasterId id="2147484891" r:id="rId8"/>
    <p:sldMasterId id="2147484924" r:id="rId9"/>
  </p:sldMasterIdLst>
  <p:notesMasterIdLst>
    <p:notesMasterId r:id="rId63"/>
  </p:notesMasterIdLst>
  <p:handoutMasterIdLst>
    <p:handoutMasterId r:id="rId64"/>
  </p:handoutMasterIdLst>
  <p:sldIdLst>
    <p:sldId id="1808" r:id="rId10"/>
    <p:sldId id="1603" r:id="rId11"/>
    <p:sldId id="4306" r:id="rId12"/>
    <p:sldId id="4310" r:id="rId13"/>
    <p:sldId id="4311" r:id="rId14"/>
    <p:sldId id="4305" r:id="rId15"/>
    <p:sldId id="4328" r:id="rId16"/>
    <p:sldId id="1460" r:id="rId17"/>
    <p:sldId id="4539" r:id="rId18"/>
    <p:sldId id="4572" r:id="rId19"/>
    <p:sldId id="2204" r:id="rId20"/>
    <p:sldId id="4529" r:id="rId21"/>
    <p:sldId id="4530" r:id="rId22"/>
    <p:sldId id="4531" r:id="rId23"/>
    <p:sldId id="3670" r:id="rId24"/>
    <p:sldId id="2237" r:id="rId25"/>
    <p:sldId id="2284" r:id="rId26"/>
    <p:sldId id="4528" r:id="rId27"/>
    <p:sldId id="4534" r:id="rId28"/>
    <p:sldId id="3688" r:id="rId29"/>
    <p:sldId id="3689" r:id="rId30"/>
    <p:sldId id="3690" r:id="rId31"/>
    <p:sldId id="1527" r:id="rId32"/>
    <p:sldId id="1881" r:id="rId33"/>
    <p:sldId id="4571" r:id="rId34"/>
    <p:sldId id="4570" r:id="rId35"/>
    <p:sldId id="3682" r:id="rId36"/>
    <p:sldId id="1558" r:id="rId37"/>
    <p:sldId id="258" r:id="rId38"/>
    <p:sldId id="1561" r:id="rId39"/>
    <p:sldId id="1957" r:id="rId40"/>
    <p:sldId id="1883" r:id="rId41"/>
    <p:sldId id="1884" r:id="rId42"/>
    <p:sldId id="1958" r:id="rId43"/>
    <p:sldId id="4538" r:id="rId44"/>
    <p:sldId id="4573" r:id="rId45"/>
    <p:sldId id="4576" r:id="rId46"/>
    <p:sldId id="4578" r:id="rId47"/>
    <p:sldId id="4579" r:id="rId48"/>
    <p:sldId id="4580" r:id="rId49"/>
    <p:sldId id="4581" r:id="rId50"/>
    <p:sldId id="4582" r:id="rId51"/>
    <p:sldId id="4583" r:id="rId52"/>
    <p:sldId id="4574" r:id="rId53"/>
    <p:sldId id="4577" r:id="rId54"/>
    <p:sldId id="4584" r:id="rId55"/>
    <p:sldId id="4585" r:id="rId56"/>
    <p:sldId id="4586" r:id="rId57"/>
    <p:sldId id="4575" r:id="rId58"/>
    <p:sldId id="4323" r:id="rId59"/>
    <p:sldId id="4364" r:id="rId60"/>
    <p:sldId id="4325" r:id="rId61"/>
    <p:sldId id="1532" r:id="rId6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Guides and Guidelines - Delete this section and slides before distributing" id="{A0252C9D-1D6B-42F9-BA63-F39DC4D8B635}">
          <p14:sldIdLst>
            <p14:sldId id="1808"/>
            <p14:sldId id="1603"/>
          </p14:sldIdLst>
        </p14:section>
        <p14:section name="Light Gray Template" id="{A073DAE3-B461-442F-A3D3-6642BD875E45}">
          <p14:sldIdLst>
            <p14:sldId id="4306"/>
            <p14:sldId id="4310"/>
            <p14:sldId id="4311"/>
            <p14:sldId id="4305"/>
            <p14:sldId id="4328"/>
            <p14:sldId id="1460"/>
            <p14:sldId id="4539"/>
            <p14:sldId id="4572"/>
            <p14:sldId id="2204"/>
            <p14:sldId id="4529"/>
            <p14:sldId id="4530"/>
            <p14:sldId id="4531"/>
            <p14:sldId id="3670"/>
            <p14:sldId id="2237"/>
            <p14:sldId id="2284"/>
            <p14:sldId id="4528"/>
          </p14:sldIdLst>
        </p14:section>
        <p14:section name="Azure Assessments" id="{5CA62FD2-B775-4812-A91F-98C580B2463E}">
          <p14:sldIdLst>
            <p14:sldId id="4534"/>
            <p14:sldId id="3688"/>
            <p14:sldId id="3689"/>
            <p14:sldId id="3690"/>
            <p14:sldId id="1527"/>
            <p14:sldId id="1881"/>
            <p14:sldId id="4571"/>
            <p14:sldId id="4570"/>
            <p14:sldId id="3682"/>
            <p14:sldId id="1558"/>
            <p14:sldId id="258"/>
            <p14:sldId id="1561"/>
            <p14:sldId id="1957"/>
            <p14:sldId id="1883"/>
            <p14:sldId id="1884"/>
            <p14:sldId id="1958"/>
            <p14:sldId id="4538"/>
            <p14:sldId id="4573"/>
            <p14:sldId id="4576"/>
            <p14:sldId id="4578"/>
            <p14:sldId id="4579"/>
            <p14:sldId id="4580"/>
            <p14:sldId id="4581"/>
            <p14:sldId id="4582"/>
            <p14:sldId id="4583"/>
            <p14:sldId id="4574"/>
            <p14:sldId id="4577"/>
            <p14:sldId id="4584"/>
            <p14:sldId id="4585"/>
            <p14:sldId id="4586"/>
            <p14:sldId id="4575"/>
          </p14:sldIdLst>
        </p14:section>
        <p14:section name="Closing" id="{888AB95E-1B7E-4E95-8F39-C5D0E8372BC2}">
          <p14:sldIdLst>
            <p14:sldId id="4323"/>
            <p14:sldId id="4364"/>
            <p14:sldId id="4325"/>
            <p14:sldId id="15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294"/>
    <a:srgbClr val="D5588A"/>
    <a:srgbClr val="854CC7"/>
    <a:srgbClr val="D83B01"/>
    <a:srgbClr val="95DFD3"/>
    <a:srgbClr val="107C10"/>
    <a:srgbClr val="004B50"/>
    <a:srgbClr val="50E6FF"/>
    <a:srgbClr val="0078D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7215C0-E1B8-49BE-B5AA-DE611573A2B6}" v="480" dt="2019-08-19T20:57:42.040"/>
    <p1510:client id="{B50FF5B2-89CF-4CC6-A692-419D39814DB0}" v="243" dt="2019-08-19T15:04:53.6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1" autoAdjust="0"/>
    <p:restoredTop sz="92109" autoAdjust="0"/>
  </p:normalViewPr>
  <p:slideViewPr>
    <p:cSldViewPr snapToGrid="0">
      <p:cViewPr varScale="1">
        <p:scale>
          <a:sx n="93" d="100"/>
          <a:sy n="93" d="100"/>
        </p:scale>
        <p:origin x="72" y="25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De Tender" userId="b54b6209-5f27-411f-8c6b-6b5d6b548771" providerId="ADAL" clId="{B50FF5B2-89CF-4CC6-A692-419D39814DB0}"/>
    <pc:docChg chg="undo custSel addSld delSld modSld sldOrd modSection">
      <pc:chgData name="Peter De Tender" userId="b54b6209-5f27-411f-8c6b-6b5d6b548771" providerId="ADAL" clId="{B50FF5B2-89CF-4CC6-A692-419D39814DB0}" dt="2019-08-19T15:08:05.051" v="8009" actId="208"/>
      <pc:docMkLst>
        <pc:docMk/>
      </pc:docMkLst>
      <pc:sldChg chg="modSp">
        <pc:chgData name="Peter De Tender" userId="b54b6209-5f27-411f-8c6b-6b5d6b548771" providerId="ADAL" clId="{B50FF5B2-89CF-4CC6-A692-419D39814DB0}" dt="2019-08-19T15:01:55.568" v="7606" actId="20577"/>
        <pc:sldMkLst>
          <pc:docMk/>
          <pc:sldMk cId="183178827" sldId="295"/>
        </pc:sldMkLst>
        <pc:spChg chg="mod">
          <ac:chgData name="Peter De Tender" userId="b54b6209-5f27-411f-8c6b-6b5d6b548771" providerId="ADAL" clId="{B50FF5B2-89CF-4CC6-A692-419D39814DB0}" dt="2019-08-19T15:01:55.568" v="7606" actId="20577"/>
          <ac:spMkLst>
            <pc:docMk/>
            <pc:sldMk cId="183178827" sldId="295"/>
            <ac:spMk id="4" creationId="{214D9626-E0F4-429E-BD9C-1F968644BC38}"/>
          </ac:spMkLst>
        </pc:spChg>
      </pc:sldChg>
      <pc:sldChg chg="del">
        <pc:chgData name="Peter De Tender" userId="b54b6209-5f27-411f-8c6b-6b5d6b548771" providerId="ADAL" clId="{B50FF5B2-89CF-4CC6-A692-419D39814DB0}" dt="2019-08-15T14:35:41.204" v="74" actId="2696"/>
        <pc:sldMkLst>
          <pc:docMk/>
          <pc:sldMk cId="1545307064" sldId="1603"/>
        </pc:sldMkLst>
      </pc:sldChg>
      <pc:sldChg chg="del">
        <pc:chgData name="Peter De Tender" userId="b54b6209-5f27-411f-8c6b-6b5d6b548771" providerId="ADAL" clId="{B50FF5B2-89CF-4CC6-A692-419D39814DB0}" dt="2019-08-15T14:35:41.156" v="73" actId="2696"/>
        <pc:sldMkLst>
          <pc:docMk/>
          <pc:sldMk cId="2432811990" sldId="1808"/>
        </pc:sldMkLst>
      </pc:sldChg>
      <pc:sldChg chg="modSp">
        <pc:chgData name="Peter De Tender" userId="b54b6209-5f27-411f-8c6b-6b5d6b548771" providerId="ADAL" clId="{B50FF5B2-89CF-4CC6-A692-419D39814DB0}" dt="2019-08-19T12:23:57.810" v="6626" actId="1076"/>
        <pc:sldMkLst>
          <pc:docMk/>
          <pc:sldMk cId="2238522511" sldId="3617"/>
        </pc:sldMkLst>
        <pc:spChg chg="mod">
          <ac:chgData name="Peter De Tender" userId="b54b6209-5f27-411f-8c6b-6b5d6b548771" providerId="ADAL" clId="{B50FF5B2-89CF-4CC6-A692-419D39814DB0}" dt="2019-08-15T14:38:15.236" v="142" actId="207"/>
          <ac:spMkLst>
            <pc:docMk/>
            <pc:sldMk cId="2238522511" sldId="3617"/>
            <ac:spMk id="9" creationId="{3303B4F4-BD54-418F-ABEC-9DA56768EB4B}"/>
          </ac:spMkLst>
        </pc:spChg>
        <pc:spChg chg="mod">
          <ac:chgData name="Peter De Tender" userId="b54b6209-5f27-411f-8c6b-6b5d6b548771" providerId="ADAL" clId="{B50FF5B2-89CF-4CC6-A692-419D39814DB0}" dt="2019-08-15T14:38:21.004" v="145" actId="108"/>
          <ac:spMkLst>
            <pc:docMk/>
            <pc:sldMk cId="2238522511" sldId="3617"/>
            <ac:spMk id="18" creationId="{FFDB50A0-8DD6-48CA-80CD-8F55978146FF}"/>
          </ac:spMkLst>
        </pc:spChg>
        <pc:spChg chg="mod">
          <ac:chgData name="Peter De Tender" userId="b54b6209-5f27-411f-8c6b-6b5d6b548771" providerId="ADAL" clId="{B50FF5B2-89CF-4CC6-A692-419D39814DB0}" dt="2019-08-19T12:23:50.530" v="6625" actId="1076"/>
          <ac:spMkLst>
            <pc:docMk/>
            <pc:sldMk cId="2238522511" sldId="3617"/>
            <ac:spMk id="21" creationId="{48F696DB-EE80-40C9-9008-6142F73C1492}"/>
          </ac:spMkLst>
        </pc:spChg>
        <pc:spChg chg="mod">
          <ac:chgData name="Peter De Tender" userId="b54b6209-5f27-411f-8c6b-6b5d6b548771" providerId="ADAL" clId="{B50FF5B2-89CF-4CC6-A692-419D39814DB0}" dt="2019-08-17T15:49:41.212" v="2660" actId="2711"/>
          <ac:spMkLst>
            <pc:docMk/>
            <pc:sldMk cId="2238522511" sldId="3617"/>
            <ac:spMk id="27" creationId="{23EC78E9-A3F5-4292-B3B0-3F15A3B65F2D}"/>
          </ac:spMkLst>
        </pc:spChg>
        <pc:spChg chg="mod">
          <ac:chgData name="Peter De Tender" userId="b54b6209-5f27-411f-8c6b-6b5d6b548771" providerId="ADAL" clId="{B50FF5B2-89CF-4CC6-A692-419D39814DB0}" dt="2019-08-15T14:38:24.357" v="147" actId="108"/>
          <ac:spMkLst>
            <pc:docMk/>
            <pc:sldMk cId="2238522511" sldId="3617"/>
            <ac:spMk id="32" creationId="{28969C80-65DA-4231-83DC-5638E0C213C6}"/>
          </ac:spMkLst>
        </pc:spChg>
        <pc:grpChg chg="mod">
          <ac:chgData name="Peter De Tender" userId="b54b6209-5f27-411f-8c6b-6b5d6b548771" providerId="ADAL" clId="{B50FF5B2-89CF-4CC6-A692-419D39814DB0}" dt="2019-08-19T12:23:57.810" v="6626" actId="1076"/>
          <ac:grpSpMkLst>
            <pc:docMk/>
            <pc:sldMk cId="2238522511" sldId="3617"/>
            <ac:grpSpMk id="3" creationId="{7E1109A4-FFA7-4A22-A9BA-27D765A83C78}"/>
          </ac:grpSpMkLst>
        </pc:grpChg>
        <pc:picChg chg="mod">
          <ac:chgData name="Peter De Tender" userId="b54b6209-5f27-411f-8c6b-6b5d6b548771" providerId="ADAL" clId="{B50FF5B2-89CF-4CC6-A692-419D39814DB0}" dt="2019-08-17T15:37:54.167" v="1926" actId="1076"/>
          <ac:picMkLst>
            <pc:docMk/>
            <pc:sldMk cId="2238522511" sldId="3617"/>
            <ac:picMk id="16" creationId="{ABB99AEE-D0DA-4872-AD88-E593AF1F70C9}"/>
          </ac:picMkLst>
        </pc:picChg>
        <pc:picChg chg="mod">
          <ac:chgData name="Peter De Tender" userId="b54b6209-5f27-411f-8c6b-6b5d6b548771" providerId="ADAL" clId="{B50FF5B2-89CF-4CC6-A692-419D39814DB0}" dt="2019-08-15T14:38:35.055" v="148" actId="207"/>
          <ac:picMkLst>
            <pc:docMk/>
            <pc:sldMk cId="2238522511" sldId="3617"/>
            <ac:picMk id="26" creationId="{00E8F52D-C4CC-4645-A09C-A5C2D2D471F5}"/>
          </ac:picMkLst>
        </pc:picChg>
        <pc:picChg chg="mod">
          <ac:chgData name="Peter De Tender" userId="b54b6209-5f27-411f-8c6b-6b5d6b548771" providerId="ADAL" clId="{B50FF5B2-89CF-4CC6-A692-419D39814DB0}" dt="2019-08-15T14:38:39.228" v="149" actId="207"/>
          <ac:picMkLst>
            <pc:docMk/>
            <pc:sldMk cId="2238522511" sldId="3617"/>
            <ac:picMk id="36" creationId="{0BDC9036-025D-43F9-AA73-A887588652A1}"/>
          </ac:picMkLst>
        </pc:picChg>
        <pc:picChg chg="mod">
          <ac:chgData name="Peter De Tender" userId="b54b6209-5f27-411f-8c6b-6b5d6b548771" providerId="ADAL" clId="{B50FF5B2-89CF-4CC6-A692-419D39814DB0}" dt="2019-08-15T14:38:43.958" v="150" actId="207"/>
          <ac:picMkLst>
            <pc:docMk/>
            <pc:sldMk cId="2238522511" sldId="3617"/>
            <ac:picMk id="38" creationId="{ABF23BC7-1AA2-4459-BE12-18A85FDCC87A}"/>
          </ac:picMkLst>
        </pc:picChg>
      </pc:sldChg>
      <pc:sldChg chg="modSp">
        <pc:chgData name="Peter De Tender" userId="b54b6209-5f27-411f-8c6b-6b5d6b548771" providerId="ADAL" clId="{B50FF5B2-89CF-4CC6-A692-419D39814DB0}" dt="2019-08-19T15:01:42.997" v="7598" actId="12"/>
        <pc:sldMkLst>
          <pc:docMk/>
          <pc:sldMk cId="730212799" sldId="3719"/>
        </pc:sldMkLst>
        <pc:spChg chg="mod">
          <ac:chgData name="Peter De Tender" userId="b54b6209-5f27-411f-8c6b-6b5d6b548771" providerId="ADAL" clId="{B50FF5B2-89CF-4CC6-A692-419D39814DB0}" dt="2019-08-19T15:01:42.997" v="7598" actId="12"/>
          <ac:spMkLst>
            <pc:docMk/>
            <pc:sldMk cId="730212799" sldId="3719"/>
            <ac:spMk id="4" creationId="{B50E5AFD-3DB8-473E-A547-170B1FB1BE49}"/>
          </ac:spMkLst>
        </pc:spChg>
      </pc:sldChg>
      <pc:sldChg chg="addSp delSp modSp">
        <pc:chgData name="Peter De Tender" userId="b54b6209-5f27-411f-8c6b-6b5d6b548771" providerId="ADAL" clId="{B50FF5B2-89CF-4CC6-A692-419D39814DB0}" dt="2019-08-19T15:02:24.490" v="7610" actId="113"/>
        <pc:sldMkLst>
          <pc:docMk/>
          <pc:sldMk cId="3039479775" sldId="3751"/>
        </pc:sldMkLst>
        <pc:spChg chg="mod">
          <ac:chgData name="Peter De Tender" userId="b54b6209-5f27-411f-8c6b-6b5d6b548771" providerId="ADAL" clId="{B50FF5B2-89CF-4CC6-A692-419D39814DB0}" dt="2019-08-17T16:10:32.289" v="4877" actId="207"/>
          <ac:spMkLst>
            <pc:docMk/>
            <pc:sldMk cId="3039479775" sldId="3751"/>
            <ac:spMk id="11" creationId="{212F1C3C-D762-442C-8233-8C7570134BBA}"/>
          </ac:spMkLst>
        </pc:spChg>
        <pc:spChg chg="mod">
          <ac:chgData name="Peter De Tender" userId="b54b6209-5f27-411f-8c6b-6b5d6b548771" providerId="ADAL" clId="{B50FF5B2-89CF-4CC6-A692-419D39814DB0}" dt="2019-08-17T16:07:23.993" v="4654" actId="164"/>
          <ac:spMkLst>
            <pc:docMk/>
            <pc:sldMk cId="3039479775" sldId="3751"/>
            <ac:spMk id="13" creationId="{FE7A8EE9-9640-4565-80A6-EA6A1DFD5F7A}"/>
          </ac:spMkLst>
        </pc:spChg>
        <pc:spChg chg="mod">
          <ac:chgData name="Peter De Tender" userId="b54b6209-5f27-411f-8c6b-6b5d6b548771" providerId="ADAL" clId="{B50FF5B2-89CF-4CC6-A692-419D39814DB0}" dt="2019-08-17T16:10:28.686" v="4876" actId="207"/>
          <ac:spMkLst>
            <pc:docMk/>
            <pc:sldMk cId="3039479775" sldId="3751"/>
            <ac:spMk id="39" creationId="{102FB662-117F-4EE8-A726-BB37A2A2AA38}"/>
          </ac:spMkLst>
        </pc:spChg>
        <pc:spChg chg="mod">
          <ac:chgData name="Peter De Tender" userId="b54b6209-5f27-411f-8c6b-6b5d6b548771" providerId="ADAL" clId="{B50FF5B2-89CF-4CC6-A692-419D39814DB0}" dt="2019-08-17T16:07:23.993" v="4654" actId="164"/>
          <ac:spMkLst>
            <pc:docMk/>
            <pc:sldMk cId="3039479775" sldId="3751"/>
            <ac:spMk id="40" creationId="{56B5C38D-E0B0-48E1-91FE-33E12D2E7DCE}"/>
          </ac:spMkLst>
        </pc:spChg>
        <pc:spChg chg="mod">
          <ac:chgData name="Peter De Tender" userId="b54b6209-5f27-411f-8c6b-6b5d6b548771" providerId="ADAL" clId="{B50FF5B2-89CF-4CC6-A692-419D39814DB0}" dt="2019-08-17T16:07:23.993" v="4654" actId="164"/>
          <ac:spMkLst>
            <pc:docMk/>
            <pc:sldMk cId="3039479775" sldId="3751"/>
            <ac:spMk id="41" creationId="{6688761D-FE27-4E13-AED2-5E12F94E83E7}"/>
          </ac:spMkLst>
        </pc:spChg>
        <pc:spChg chg="mod">
          <ac:chgData name="Peter De Tender" userId="b54b6209-5f27-411f-8c6b-6b5d6b548771" providerId="ADAL" clId="{B50FF5B2-89CF-4CC6-A692-419D39814DB0}" dt="2019-08-17T16:07:23.993" v="4654" actId="164"/>
          <ac:spMkLst>
            <pc:docMk/>
            <pc:sldMk cId="3039479775" sldId="3751"/>
            <ac:spMk id="42" creationId="{9034CAED-EF8A-422A-A612-B7ADBEE2AA21}"/>
          </ac:spMkLst>
        </pc:spChg>
        <pc:spChg chg="mod">
          <ac:chgData name="Peter De Tender" userId="b54b6209-5f27-411f-8c6b-6b5d6b548771" providerId="ADAL" clId="{B50FF5B2-89CF-4CC6-A692-419D39814DB0}" dt="2019-08-17T16:09:12.517" v="4672" actId="1076"/>
          <ac:spMkLst>
            <pc:docMk/>
            <pc:sldMk cId="3039479775" sldId="3751"/>
            <ac:spMk id="47" creationId="{8722060E-CA21-4518-9001-7BD7D4D36A43}"/>
          </ac:spMkLst>
        </pc:spChg>
        <pc:spChg chg="mod">
          <ac:chgData name="Peter De Tender" userId="b54b6209-5f27-411f-8c6b-6b5d6b548771" providerId="ADAL" clId="{B50FF5B2-89CF-4CC6-A692-419D39814DB0}" dt="2019-08-17T16:09:12.517" v="4672" actId="1076"/>
          <ac:spMkLst>
            <pc:docMk/>
            <pc:sldMk cId="3039479775" sldId="3751"/>
            <ac:spMk id="48" creationId="{044EB8CD-19EF-40A1-8E3C-6F92A34C6D30}"/>
          </ac:spMkLst>
        </pc:spChg>
        <pc:spChg chg="mod">
          <ac:chgData name="Peter De Tender" userId="b54b6209-5f27-411f-8c6b-6b5d6b548771" providerId="ADAL" clId="{B50FF5B2-89CF-4CC6-A692-419D39814DB0}" dt="2019-08-19T15:02:24.490" v="7610" actId="113"/>
          <ac:spMkLst>
            <pc:docMk/>
            <pc:sldMk cId="3039479775" sldId="3751"/>
            <ac:spMk id="50" creationId="{B5603CBB-090A-4EFF-AAA0-797EC0FF023E}"/>
          </ac:spMkLst>
        </pc:spChg>
        <pc:spChg chg="mod">
          <ac:chgData name="Peter De Tender" userId="b54b6209-5f27-411f-8c6b-6b5d6b548771" providerId="ADAL" clId="{B50FF5B2-89CF-4CC6-A692-419D39814DB0}" dt="2019-08-17T16:07:51.224" v="4658" actId="1076"/>
          <ac:spMkLst>
            <pc:docMk/>
            <pc:sldMk cId="3039479775" sldId="3751"/>
            <ac:spMk id="55" creationId="{780641BB-6B8E-41DD-92C5-A31A414FC29D}"/>
          </ac:spMkLst>
        </pc:spChg>
        <pc:spChg chg="mod">
          <ac:chgData name="Peter De Tender" userId="b54b6209-5f27-411f-8c6b-6b5d6b548771" providerId="ADAL" clId="{B50FF5B2-89CF-4CC6-A692-419D39814DB0}" dt="2019-08-17T16:07:23.993" v="4654" actId="164"/>
          <ac:spMkLst>
            <pc:docMk/>
            <pc:sldMk cId="3039479775" sldId="3751"/>
            <ac:spMk id="56" creationId="{90EE58BC-4E06-46A8-95D8-72EEF74FDCD9}"/>
          </ac:spMkLst>
        </pc:spChg>
        <pc:spChg chg="mod">
          <ac:chgData name="Peter De Tender" userId="b54b6209-5f27-411f-8c6b-6b5d6b548771" providerId="ADAL" clId="{B50FF5B2-89CF-4CC6-A692-419D39814DB0}" dt="2019-08-17T16:09:12.517" v="4672" actId="1076"/>
          <ac:spMkLst>
            <pc:docMk/>
            <pc:sldMk cId="3039479775" sldId="3751"/>
            <ac:spMk id="57" creationId="{E41C370E-DC5A-4A8D-A213-69F9E55C2F40}"/>
          </ac:spMkLst>
        </pc:spChg>
        <pc:spChg chg="mod">
          <ac:chgData name="Peter De Tender" userId="b54b6209-5f27-411f-8c6b-6b5d6b548771" providerId="ADAL" clId="{B50FF5B2-89CF-4CC6-A692-419D39814DB0}" dt="2019-08-17T16:07:23.993" v="4654" actId="164"/>
          <ac:spMkLst>
            <pc:docMk/>
            <pc:sldMk cId="3039479775" sldId="3751"/>
            <ac:spMk id="58" creationId="{33E0D105-9060-42B9-89AF-C72A6623F357}"/>
          </ac:spMkLst>
        </pc:spChg>
        <pc:spChg chg="mod">
          <ac:chgData name="Peter De Tender" userId="b54b6209-5f27-411f-8c6b-6b5d6b548771" providerId="ADAL" clId="{B50FF5B2-89CF-4CC6-A692-419D39814DB0}" dt="2019-08-17T16:07:23.993" v="4654" actId="164"/>
          <ac:spMkLst>
            <pc:docMk/>
            <pc:sldMk cId="3039479775" sldId="3751"/>
            <ac:spMk id="59" creationId="{CEB03C3D-FA3C-4675-8FF2-A7CC67493BA0}"/>
          </ac:spMkLst>
        </pc:spChg>
        <pc:spChg chg="mod">
          <ac:chgData name="Peter De Tender" userId="b54b6209-5f27-411f-8c6b-6b5d6b548771" providerId="ADAL" clId="{B50FF5B2-89CF-4CC6-A692-419D39814DB0}" dt="2019-08-17T16:07:23.993" v="4654" actId="164"/>
          <ac:spMkLst>
            <pc:docMk/>
            <pc:sldMk cId="3039479775" sldId="3751"/>
            <ac:spMk id="60" creationId="{A8E3026B-4B70-4F57-B63A-9A5B0EA7F77D}"/>
          </ac:spMkLst>
        </pc:spChg>
        <pc:spChg chg="mod">
          <ac:chgData name="Peter De Tender" userId="b54b6209-5f27-411f-8c6b-6b5d6b548771" providerId="ADAL" clId="{B50FF5B2-89CF-4CC6-A692-419D39814DB0}" dt="2019-08-17T16:07:23.993" v="4654" actId="164"/>
          <ac:spMkLst>
            <pc:docMk/>
            <pc:sldMk cId="3039479775" sldId="3751"/>
            <ac:spMk id="61" creationId="{44FD5A47-961C-4AEE-A6F2-94745ACA86A8}"/>
          </ac:spMkLst>
        </pc:spChg>
        <pc:grpChg chg="add mod">
          <ac:chgData name="Peter De Tender" userId="b54b6209-5f27-411f-8c6b-6b5d6b548771" providerId="ADAL" clId="{B50FF5B2-89CF-4CC6-A692-419D39814DB0}" dt="2019-08-17T16:08:55.672" v="4671" actId="1076"/>
          <ac:grpSpMkLst>
            <pc:docMk/>
            <pc:sldMk cId="3039479775" sldId="3751"/>
            <ac:grpSpMk id="18" creationId="{74A72572-6307-4496-B434-5A75D4321BE6}"/>
          </ac:grpSpMkLst>
        </pc:grpChg>
        <pc:picChg chg="del">
          <ac:chgData name="Peter De Tender" userId="b54b6209-5f27-411f-8c6b-6b5d6b548771" providerId="ADAL" clId="{B50FF5B2-89CF-4CC6-A692-419D39814DB0}" dt="2019-08-17T16:07:13.447" v="4652" actId="478"/>
          <ac:picMkLst>
            <pc:docMk/>
            <pc:sldMk cId="3039479775" sldId="3751"/>
            <ac:picMk id="3" creationId="{0F38D86A-22BC-4720-A95F-C200CBF68FB7}"/>
          </ac:picMkLst>
        </pc:picChg>
        <pc:picChg chg="mod">
          <ac:chgData name="Peter De Tender" userId="b54b6209-5f27-411f-8c6b-6b5d6b548771" providerId="ADAL" clId="{B50FF5B2-89CF-4CC6-A692-419D39814DB0}" dt="2019-08-17T16:07:23.993" v="4654" actId="164"/>
          <ac:picMkLst>
            <pc:docMk/>
            <pc:sldMk cId="3039479775" sldId="3751"/>
            <ac:picMk id="4" creationId="{E7612AD7-D214-4247-B28A-7A622386C505}"/>
          </ac:picMkLst>
        </pc:picChg>
        <pc:picChg chg="mod">
          <ac:chgData name="Peter De Tender" userId="b54b6209-5f27-411f-8c6b-6b5d6b548771" providerId="ADAL" clId="{B50FF5B2-89CF-4CC6-A692-419D39814DB0}" dt="2019-08-17T16:08:40.574" v="4667" actId="1076"/>
          <ac:picMkLst>
            <pc:docMk/>
            <pc:sldMk cId="3039479775" sldId="3751"/>
            <ac:picMk id="6" creationId="{6FE6C042-DC9B-4BCE-BAED-90507044E3AD}"/>
          </ac:picMkLst>
        </pc:picChg>
        <pc:picChg chg="mod">
          <ac:chgData name="Peter De Tender" userId="b54b6209-5f27-411f-8c6b-6b5d6b548771" providerId="ADAL" clId="{B50FF5B2-89CF-4CC6-A692-419D39814DB0}" dt="2019-08-17T16:08:44.259" v="4668" actId="1076"/>
          <ac:picMkLst>
            <pc:docMk/>
            <pc:sldMk cId="3039479775" sldId="3751"/>
            <ac:picMk id="12" creationId="{BEFB5F6E-4AC3-4AD5-88E7-2E7DEFE6F344}"/>
          </ac:picMkLst>
        </pc:picChg>
        <pc:picChg chg="mod">
          <ac:chgData name="Peter De Tender" userId="b54b6209-5f27-411f-8c6b-6b5d6b548771" providerId="ADAL" clId="{B50FF5B2-89CF-4CC6-A692-419D39814DB0}" dt="2019-08-17T16:08:23.129" v="4663" actId="1076"/>
          <ac:picMkLst>
            <pc:docMk/>
            <pc:sldMk cId="3039479775" sldId="3751"/>
            <ac:picMk id="14" creationId="{D32D4574-EE49-4DBD-889E-9CA47BDA2250}"/>
          </ac:picMkLst>
        </pc:picChg>
        <pc:picChg chg="mod">
          <ac:chgData name="Peter De Tender" userId="b54b6209-5f27-411f-8c6b-6b5d6b548771" providerId="ADAL" clId="{B50FF5B2-89CF-4CC6-A692-419D39814DB0}" dt="2019-08-17T16:07:23.993" v="4654" actId="164"/>
          <ac:picMkLst>
            <pc:docMk/>
            <pc:sldMk cId="3039479775" sldId="3751"/>
            <ac:picMk id="15" creationId="{DEFB5DA7-C087-45EF-898F-DA05042F55D9}"/>
          </ac:picMkLst>
        </pc:picChg>
        <pc:picChg chg="mod">
          <ac:chgData name="Peter De Tender" userId="b54b6209-5f27-411f-8c6b-6b5d6b548771" providerId="ADAL" clId="{B50FF5B2-89CF-4CC6-A692-419D39814DB0}" dt="2019-08-17T16:08:26.865" v="4664" actId="1076"/>
          <ac:picMkLst>
            <pc:docMk/>
            <pc:sldMk cId="3039479775" sldId="3751"/>
            <ac:picMk id="16" creationId="{42F9BF45-51F6-4F59-AB16-DE5408AE9B62}"/>
          </ac:picMkLst>
        </pc:picChg>
        <pc:picChg chg="mod">
          <ac:chgData name="Peter De Tender" userId="b54b6209-5f27-411f-8c6b-6b5d6b548771" providerId="ADAL" clId="{B50FF5B2-89CF-4CC6-A692-419D39814DB0}" dt="2019-08-17T16:07:23.993" v="4654" actId="164"/>
          <ac:picMkLst>
            <pc:docMk/>
            <pc:sldMk cId="3039479775" sldId="3751"/>
            <ac:picMk id="17" creationId="{F3DE42DE-AAE9-4458-BD46-A0C6C9DD9A32}"/>
          </ac:picMkLst>
        </pc:picChg>
        <pc:picChg chg="mod">
          <ac:chgData name="Peter De Tender" userId="b54b6209-5f27-411f-8c6b-6b5d6b548771" providerId="ADAL" clId="{B50FF5B2-89CF-4CC6-A692-419D39814DB0}" dt="2019-08-17T16:09:12.517" v="4672" actId="1076"/>
          <ac:picMkLst>
            <pc:docMk/>
            <pc:sldMk cId="3039479775" sldId="3751"/>
            <ac:picMk id="20" creationId="{B5116F3A-50AD-4C15-99F0-E768EC7CF03D}"/>
          </ac:picMkLst>
        </pc:picChg>
        <pc:picChg chg="mod">
          <ac:chgData name="Peter De Tender" userId="b54b6209-5f27-411f-8c6b-6b5d6b548771" providerId="ADAL" clId="{B50FF5B2-89CF-4CC6-A692-419D39814DB0}" dt="2019-08-17T16:07:23.993" v="4654" actId="164"/>
          <ac:picMkLst>
            <pc:docMk/>
            <pc:sldMk cId="3039479775" sldId="3751"/>
            <ac:picMk id="21" creationId="{94A51B68-C1A1-4FE6-ACC2-57F59138F6F2}"/>
          </ac:picMkLst>
        </pc:picChg>
        <pc:picChg chg="mod">
          <ac:chgData name="Peter De Tender" userId="b54b6209-5f27-411f-8c6b-6b5d6b548771" providerId="ADAL" clId="{B50FF5B2-89CF-4CC6-A692-419D39814DB0}" dt="2019-08-17T16:08:31.664" v="4665" actId="1076"/>
          <ac:picMkLst>
            <pc:docMk/>
            <pc:sldMk cId="3039479775" sldId="3751"/>
            <ac:picMk id="23" creationId="{797E7CD9-7BB0-4D8A-905E-9EC32AD5DBFB}"/>
          </ac:picMkLst>
        </pc:picChg>
        <pc:picChg chg="mod">
          <ac:chgData name="Peter De Tender" userId="b54b6209-5f27-411f-8c6b-6b5d6b548771" providerId="ADAL" clId="{B50FF5B2-89CF-4CC6-A692-419D39814DB0}" dt="2019-08-17T16:07:23.993" v="4654" actId="164"/>
          <ac:picMkLst>
            <pc:docMk/>
            <pc:sldMk cId="3039479775" sldId="3751"/>
            <ac:picMk id="25" creationId="{6CD3AC8B-6B2D-4217-AEB0-65E4FF73BAA9}"/>
          </ac:picMkLst>
        </pc:picChg>
        <pc:picChg chg="mod">
          <ac:chgData name="Peter De Tender" userId="b54b6209-5f27-411f-8c6b-6b5d6b548771" providerId="ADAL" clId="{B50FF5B2-89CF-4CC6-A692-419D39814DB0}" dt="2019-08-17T16:07:23.993" v="4654" actId="164"/>
          <ac:picMkLst>
            <pc:docMk/>
            <pc:sldMk cId="3039479775" sldId="3751"/>
            <ac:picMk id="27" creationId="{A59019A6-5EF4-41C1-8A34-683F5AC813B7}"/>
          </ac:picMkLst>
        </pc:picChg>
        <pc:picChg chg="mod">
          <ac:chgData name="Peter De Tender" userId="b54b6209-5f27-411f-8c6b-6b5d6b548771" providerId="ADAL" clId="{B50FF5B2-89CF-4CC6-A692-419D39814DB0}" dt="2019-08-17T16:07:23.993" v="4654" actId="164"/>
          <ac:picMkLst>
            <pc:docMk/>
            <pc:sldMk cId="3039479775" sldId="3751"/>
            <ac:picMk id="29" creationId="{689B43BE-2A83-4A8B-9ACF-AFD26867169A}"/>
          </ac:picMkLst>
        </pc:picChg>
        <pc:picChg chg="mod">
          <ac:chgData name="Peter De Tender" userId="b54b6209-5f27-411f-8c6b-6b5d6b548771" providerId="ADAL" clId="{B50FF5B2-89CF-4CC6-A692-419D39814DB0}" dt="2019-08-17T16:07:23.993" v="4654" actId="164"/>
          <ac:picMkLst>
            <pc:docMk/>
            <pc:sldMk cId="3039479775" sldId="3751"/>
            <ac:picMk id="31" creationId="{CA3A323C-4101-436E-9E5C-0BD67F8E0D09}"/>
          </ac:picMkLst>
        </pc:picChg>
        <pc:picChg chg="del">
          <ac:chgData name="Peter De Tender" userId="b54b6209-5f27-411f-8c6b-6b5d6b548771" providerId="ADAL" clId="{B50FF5B2-89CF-4CC6-A692-419D39814DB0}" dt="2019-08-17T16:07:15.068" v="4653" actId="478"/>
          <ac:picMkLst>
            <pc:docMk/>
            <pc:sldMk cId="3039479775" sldId="3751"/>
            <ac:picMk id="45" creationId="{ADEA7EEA-0601-4819-BE04-BFE34D31B0CF}"/>
          </ac:picMkLst>
        </pc:picChg>
        <pc:picChg chg="mod">
          <ac:chgData name="Peter De Tender" userId="b54b6209-5f27-411f-8c6b-6b5d6b548771" providerId="ADAL" clId="{B50FF5B2-89CF-4CC6-A692-419D39814DB0}" dt="2019-08-17T16:09:12.517" v="4672" actId="1076"/>
          <ac:picMkLst>
            <pc:docMk/>
            <pc:sldMk cId="3039479775" sldId="3751"/>
            <ac:picMk id="69" creationId="{C61E124F-08B2-4198-9AF8-1301EE7BBE4C}"/>
          </ac:picMkLst>
        </pc:picChg>
        <pc:picChg chg="mod">
          <ac:chgData name="Peter De Tender" userId="b54b6209-5f27-411f-8c6b-6b5d6b548771" providerId="ADAL" clId="{B50FF5B2-89CF-4CC6-A692-419D39814DB0}" dt="2019-08-17T16:09:12.517" v="4672" actId="1076"/>
          <ac:picMkLst>
            <pc:docMk/>
            <pc:sldMk cId="3039479775" sldId="3751"/>
            <ac:picMk id="71" creationId="{16B1101F-9EA5-4CCE-9D4F-D2A2F2D1B384}"/>
          </ac:picMkLst>
        </pc:picChg>
        <pc:picChg chg="mod">
          <ac:chgData name="Peter De Tender" userId="b54b6209-5f27-411f-8c6b-6b5d6b548771" providerId="ADAL" clId="{B50FF5B2-89CF-4CC6-A692-419D39814DB0}" dt="2019-08-17T16:08:07.859" v="4661" actId="1076"/>
          <ac:picMkLst>
            <pc:docMk/>
            <pc:sldMk cId="3039479775" sldId="3751"/>
            <ac:picMk id="74" creationId="{9D71AFAA-60A8-4555-977F-FC7C746537DD}"/>
          </ac:picMkLst>
        </pc:picChg>
        <pc:picChg chg="mod">
          <ac:chgData name="Peter De Tender" userId="b54b6209-5f27-411f-8c6b-6b5d6b548771" providerId="ADAL" clId="{B50FF5B2-89CF-4CC6-A692-419D39814DB0}" dt="2019-08-17T16:09:12.517" v="4672" actId="1076"/>
          <ac:picMkLst>
            <pc:docMk/>
            <pc:sldMk cId="3039479775" sldId="3751"/>
            <ac:picMk id="76" creationId="{F33A2986-0958-4BFE-B3A1-B09B17C87A91}"/>
          </ac:picMkLst>
        </pc:picChg>
      </pc:sldChg>
      <pc:sldChg chg="add">
        <pc:chgData name="Peter De Tender" userId="b54b6209-5f27-411f-8c6b-6b5d6b548771" providerId="ADAL" clId="{B50FF5B2-89CF-4CC6-A692-419D39814DB0}" dt="2019-08-15T14:35:59.332" v="75"/>
        <pc:sldMkLst>
          <pc:docMk/>
          <pc:sldMk cId="3949473318" sldId="4305"/>
        </pc:sldMkLst>
      </pc:sldChg>
      <pc:sldChg chg="add modTransition">
        <pc:chgData name="Peter De Tender" userId="b54b6209-5f27-411f-8c6b-6b5d6b548771" providerId="ADAL" clId="{B50FF5B2-89CF-4CC6-A692-419D39814DB0}" dt="2019-08-17T16:56:19.092" v="5362"/>
        <pc:sldMkLst>
          <pc:docMk/>
          <pc:sldMk cId="3784648134" sldId="4306"/>
        </pc:sldMkLst>
      </pc:sldChg>
      <pc:sldChg chg="add">
        <pc:chgData name="Peter De Tender" userId="b54b6209-5f27-411f-8c6b-6b5d6b548771" providerId="ADAL" clId="{B50FF5B2-89CF-4CC6-A692-419D39814DB0}" dt="2019-08-15T14:35:59.332" v="75"/>
        <pc:sldMkLst>
          <pc:docMk/>
          <pc:sldMk cId="3046237442" sldId="4310"/>
        </pc:sldMkLst>
      </pc:sldChg>
      <pc:sldChg chg="add">
        <pc:chgData name="Peter De Tender" userId="b54b6209-5f27-411f-8c6b-6b5d6b548771" providerId="ADAL" clId="{B50FF5B2-89CF-4CC6-A692-419D39814DB0}" dt="2019-08-15T14:35:59.332" v="75"/>
        <pc:sldMkLst>
          <pc:docMk/>
          <pc:sldMk cId="1649627968" sldId="4311"/>
        </pc:sldMkLst>
      </pc:sldChg>
      <pc:sldChg chg="modSp">
        <pc:chgData name="Peter De Tender" userId="b54b6209-5f27-411f-8c6b-6b5d6b548771" providerId="ADAL" clId="{B50FF5B2-89CF-4CC6-A692-419D39814DB0}" dt="2019-08-19T15:06:40.613" v="7945" actId="20577"/>
        <pc:sldMkLst>
          <pc:docMk/>
          <pc:sldMk cId="3243290784" sldId="4323"/>
        </pc:sldMkLst>
        <pc:spChg chg="mod">
          <ac:chgData name="Peter De Tender" userId="b54b6209-5f27-411f-8c6b-6b5d6b548771" providerId="ADAL" clId="{B50FF5B2-89CF-4CC6-A692-419D39814DB0}" dt="2019-08-19T15:06:40.613" v="7945" actId="20577"/>
          <ac:spMkLst>
            <pc:docMk/>
            <pc:sldMk cId="3243290784" sldId="4323"/>
            <ac:spMk id="4" creationId="{23F0A433-EF7F-4510-AD9B-93AD5EDD9241}"/>
          </ac:spMkLst>
        </pc:spChg>
      </pc:sldChg>
      <pc:sldChg chg="modSp">
        <pc:chgData name="Peter De Tender" userId="b54b6209-5f27-411f-8c6b-6b5d6b548771" providerId="ADAL" clId="{B50FF5B2-89CF-4CC6-A692-419D39814DB0}" dt="2019-08-19T15:07:06.932" v="8000" actId="20577"/>
        <pc:sldMkLst>
          <pc:docMk/>
          <pc:sldMk cId="240323736" sldId="4325"/>
        </pc:sldMkLst>
        <pc:spChg chg="mod">
          <ac:chgData name="Peter De Tender" userId="b54b6209-5f27-411f-8c6b-6b5d6b548771" providerId="ADAL" clId="{B50FF5B2-89CF-4CC6-A692-419D39814DB0}" dt="2019-08-19T15:07:06.932" v="8000" actId="20577"/>
          <ac:spMkLst>
            <pc:docMk/>
            <pc:sldMk cId="240323736" sldId="4325"/>
            <ac:spMk id="5" creationId="{94FF6427-3B79-4E7B-AAD7-5401A7BF243C}"/>
          </ac:spMkLst>
        </pc:spChg>
      </pc:sldChg>
      <pc:sldChg chg="modSp">
        <pc:chgData name="Peter De Tender" userId="b54b6209-5f27-411f-8c6b-6b5d6b548771" providerId="ADAL" clId="{B50FF5B2-89CF-4CC6-A692-419D39814DB0}" dt="2019-08-15T14:37:19.135" v="136" actId="20577"/>
        <pc:sldMkLst>
          <pc:docMk/>
          <pc:sldMk cId="190629274" sldId="4328"/>
        </pc:sldMkLst>
        <pc:spChg chg="mod">
          <ac:chgData name="Peter De Tender" userId="b54b6209-5f27-411f-8c6b-6b5d6b548771" providerId="ADAL" clId="{B50FF5B2-89CF-4CC6-A692-419D39814DB0}" dt="2019-08-15T14:37:19.135" v="136" actId="20577"/>
          <ac:spMkLst>
            <pc:docMk/>
            <pc:sldMk cId="190629274" sldId="4328"/>
            <ac:spMk id="13" creationId="{A7899278-BD67-4AAC-9874-65FAF4AED117}"/>
          </ac:spMkLst>
        </pc:spChg>
        <pc:spChg chg="mod">
          <ac:chgData name="Peter De Tender" userId="b54b6209-5f27-411f-8c6b-6b5d6b548771" providerId="ADAL" clId="{B50FF5B2-89CF-4CC6-A692-419D39814DB0}" dt="2019-08-15T14:37:13.330" v="124" actId="20577"/>
          <ac:spMkLst>
            <pc:docMk/>
            <pc:sldMk cId="190629274" sldId="4328"/>
            <ac:spMk id="14" creationId="{8B004072-1B0B-4387-9E77-76A61E081B56}"/>
          </ac:spMkLst>
        </pc:spChg>
      </pc:sldChg>
      <pc:sldChg chg="addSp delSp modSp ord">
        <pc:chgData name="Peter De Tender" userId="b54b6209-5f27-411f-8c6b-6b5d6b548771" providerId="ADAL" clId="{B50FF5B2-89CF-4CC6-A692-419D39814DB0}" dt="2019-08-19T12:23:40.770" v="6624" actId="1076"/>
        <pc:sldMkLst>
          <pc:docMk/>
          <pc:sldMk cId="1237986862" sldId="4337"/>
        </pc:sldMkLst>
        <pc:spChg chg="mod">
          <ac:chgData name="Peter De Tender" userId="b54b6209-5f27-411f-8c6b-6b5d6b548771" providerId="ADAL" clId="{B50FF5B2-89CF-4CC6-A692-419D39814DB0}" dt="2019-08-17T15:48:16.475" v="2637" actId="207"/>
          <ac:spMkLst>
            <pc:docMk/>
            <pc:sldMk cId="1237986862" sldId="4337"/>
            <ac:spMk id="4" creationId="{DA6A65AD-43AA-423E-8D08-19A36B5745EF}"/>
          </ac:spMkLst>
        </pc:spChg>
        <pc:spChg chg="mod">
          <ac:chgData name="Peter De Tender" userId="b54b6209-5f27-411f-8c6b-6b5d6b548771" providerId="ADAL" clId="{B50FF5B2-89CF-4CC6-A692-419D39814DB0}" dt="2019-08-17T15:46:34.737" v="2627" actId="255"/>
          <ac:spMkLst>
            <pc:docMk/>
            <pc:sldMk cId="1237986862" sldId="4337"/>
            <ac:spMk id="5" creationId="{795D34CA-2892-4FF4-9588-C6A35829635B}"/>
          </ac:spMkLst>
        </pc:spChg>
        <pc:spChg chg="add mod">
          <ac:chgData name="Peter De Tender" userId="b54b6209-5f27-411f-8c6b-6b5d6b548771" providerId="ADAL" clId="{B50FF5B2-89CF-4CC6-A692-419D39814DB0}" dt="2019-08-17T15:50:27.222" v="2664" actId="478"/>
          <ac:spMkLst>
            <pc:docMk/>
            <pc:sldMk cId="1237986862" sldId="4337"/>
            <ac:spMk id="8" creationId="{14CF69DA-7437-489E-8B46-3A7E63350728}"/>
          </ac:spMkLst>
        </pc:spChg>
        <pc:spChg chg="mod">
          <ac:chgData name="Peter De Tender" userId="b54b6209-5f27-411f-8c6b-6b5d6b548771" providerId="ADAL" clId="{B50FF5B2-89CF-4CC6-A692-419D39814DB0}" dt="2019-08-17T15:52:22.217" v="2790" actId="20577"/>
          <ac:spMkLst>
            <pc:docMk/>
            <pc:sldMk cId="1237986862" sldId="4337"/>
            <ac:spMk id="10" creationId="{967D699B-D6CA-484D-9DCC-8760B5AE64AE}"/>
          </ac:spMkLst>
        </pc:spChg>
        <pc:spChg chg="mod">
          <ac:chgData name="Peter De Tender" userId="b54b6209-5f27-411f-8c6b-6b5d6b548771" providerId="ADAL" clId="{B50FF5B2-89CF-4CC6-A692-419D39814DB0}" dt="2019-08-17T15:51:55.018" v="2700" actId="20577"/>
          <ac:spMkLst>
            <pc:docMk/>
            <pc:sldMk cId="1237986862" sldId="4337"/>
            <ac:spMk id="12" creationId="{2C90A02D-FA22-4D75-8262-E67026C3F459}"/>
          </ac:spMkLst>
        </pc:spChg>
        <pc:spChg chg="mod">
          <ac:chgData name="Peter De Tender" userId="b54b6209-5f27-411f-8c6b-6b5d6b548771" providerId="ADAL" clId="{B50FF5B2-89CF-4CC6-A692-419D39814DB0}" dt="2019-08-17T15:52:55.943" v="2857" actId="20577"/>
          <ac:spMkLst>
            <pc:docMk/>
            <pc:sldMk cId="1237986862" sldId="4337"/>
            <ac:spMk id="20" creationId="{D306CDB6-E465-4A41-B520-9DC0AC0600BC}"/>
          </ac:spMkLst>
        </pc:spChg>
        <pc:spChg chg="mod">
          <ac:chgData name="Peter De Tender" userId="b54b6209-5f27-411f-8c6b-6b5d6b548771" providerId="ADAL" clId="{B50FF5B2-89CF-4CC6-A692-419D39814DB0}" dt="2019-08-17T15:53:49.325" v="3040" actId="20577"/>
          <ac:spMkLst>
            <pc:docMk/>
            <pc:sldMk cId="1237986862" sldId="4337"/>
            <ac:spMk id="21" creationId="{48F696DB-EE80-40C9-9008-6142F73C1492}"/>
          </ac:spMkLst>
        </pc:spChg>
        <pc:spChg chg="mod">
          <ac:chgData name="Peter De Tender" userId="b54b6209-5f27-411f-8c6b-6b5d6b548771" providerId="ADAL" clId="{B50FF5B2-89CF-4CC6-A692-419D39814DB0}" dt="2019-08-17T15:49:27.648" v="2659" actId="113"/>
          <ac:spMkLst>
            <pc:docMk/>
            <pc:sldMk cId="1237986862" sldId="4337"/>
            <ac:spMk id="27" creationId="{23EC78E9-A3F5-4292-B3B0-3F15A3B65F2D}"/>
          </ac:spMkLst>
        </pc:spChg>
        <pc:spChg chg="mod">
          <ac:chgData name="Peter De Tender" userId="b54b6209-5f27-411f-8c6b-6b5d6b548771" providerId="ADAL" clId="{B50FF5B2-89CF-4CC6-A692-419D39814DB0}" dt="2019-08-17T15:48:46.825" v="2642" actId="207"/>
          <ac:spMkLst>
            <pc:docMk/>
            <pc:sldMk cId="1237986862" sldId="4337"/>
            <ac:spMk id="30" creationId="{A794CA63-381B-4EF5-93F4-3262C5613026}"/>
          </ac:spMkLst>
        </pc:spChg>
        <pc:spChg chg="mod">
          <ac:chgData name="Peter De Tender" userId="b54b6209-5f27-411f-8c6b-6b5d6b548771" providerId="ADAL" clId="{B50FF5B2-89CF-4CC6-A692-419D39814DB0}" dt="2019-08-17T15:54:17.575" v="3072" actId="14100"/>
          <ac:spMkLst>
            <pc:docMk/>
            <pc:sldMk cId="1237986862" sldId="4337"/>
            <ac:spMk id="33" creationId="{8446C7CC-67CB-4D25-A20A-694A6E1F21D8}"/>
          </ac:spMkLst>
        </pc:spChg>
        <pc:spChg chg="mod">
          <ac:chgData name="Peter De Tender" userId="b54b6209-5f27-411f-8c6b-6b5d6b548771" providerId="ADAL" clId="{B50FF5B2-89CF-4CC6-A692-419D39814DB0}" dt="2019-08-17T15:55:02.699" v="3259" actId="20577"/>
          <ac:spMkLst>
            <pc:docMk/>
            <pc:sldMk cId="1237986862" sldId="4337"/>
            <ac:spMk id="34" creationId="{C7FD4636-4259-4145-9391-F318DE7B8336}"/>
          </ac:spMkLst>
        </pc:spChg>
        <pc:grpChg chg="mod">
          <ac:chgData name="Peter De Tender" userId="b54b6209-5f27-411f-8c6b-6b5d6b548771" providerId="ADAL" clId="{B50FF5B2-89CF-4CC6-A692-419D39814DB0}" dt="2019-08-19T12:23:40.770" v="6624" actId="1076"/>
          <ac:grpSpMkLst>
            <pc:docMk/>
            <pc:sldMk cId="1237986862" sldId="4337"/>
            <ac:grpSpMk id="3" creationId="{7E1109A4-FFA7-4A22-A9BA-27D765A83C78}"/>
          </ac:grpSpMkLst>
        </pc:grpChg>
        <pc:picChg chg="add del mod">
          <ac:chgData name="Peter De Tender" userId="b54b6209-5f27-411f-8c6b-6b5d6b548771" providerId="ADAL" clId="{B50FF5B2-89CF-4CC6-A692-419D39814DB0}" dt="2019-08-17T15:50:36.933" v="2668" actId="478"/>
          <ac:picMkLst>
            <pc:docMk/>
            <pc:sldMk cId="1237986862" sldId="4337"/>
            <ac:picMk id="11" creationId="{D69350DA-01C8-4F1D-B2A6-7B3EBF3EE771}"/>
          </ac:picMkLst>
        </pc:picChg>
        <pc:picChg chg="add mod">
          <ac:chgData name="Peter De Tender" userId="b54b6209-5f27-411f-8c6b-6b5d6b548771" providerId="ADAL" clId="{B50FF5B2-89CF-4CC6-A692-419D39814DB0}" dt="2019-08-17T15:51:28.003" v="2674" actId="14100"/>
          <ac:picMkLst>
            <pc:docMk/>
            <pc:sldMk cId="1237986862" sldId="4337"/>
            <ac:picMk id="13" creationId="{A20D6E64-6BF9-47CA-BE48-68D8C0EC0F1C}"/>
          </ac:picMkLst>
        </pc:picChg>
        <pc:picChg chg="del">
          <ac:chgData name="Peter De Tender" userId="b54b6209-5f27-411f-8c6b-6b5d6b548771" providerId="ADAL" clId="{B50FF5B2-89CF-4CC6-A692-419D39814DB0}" dt="2019-08-17T15:50:27.222" v="2664" actId="478"/>
          <ac:picMkLst>
            <pc:docMk/>
            <pc:sldMk cId="1237986862" sldId="4337"/>
            <ac:picMk id="16" creationId="{ABB99AEE-D0DA-4872-AD88-E593AF1F70C9}"/>
          </ac:picMkLst>
        </pc:picChg>
        <pc:picChg chg="mod">
          <ac:chgData name="Peter De Tender" userId="b54b6209-5f27-411f-8c6b-6b5d6b548771" providerId="ADAL" clId="{B50FF5B2-89CF-4CC6-A692-419D39814DB0}" dt="2019-08-17T15:48:27.651" v="2638" actId="207"/>
          <ac:picMkLst>
            <pc:docMk/>
            <pc:sldMk cId="1237986862" sldId="4337"/>
            <ac:picMk id="26" creationId="{00E8F52D-C4CC-4645-A09C-A5C2D2D471F5}"/>
          </ac:picMkLst>
        </pc:picChg>
        <pc:picChg chg="mod">
          <ac:chgData name="Peter De Tender" userId="b54b6209-5f27-411f-8c6b-6b5d6b548771" providerId="ADAL" clId="{B50FF5B2-89CF-4CC6-A692-419D39814DB0}" dt="2019-08-17T15:48:32.077" v="2639" actId="207"/>
          <ac:picMkLst>
            <pc:docMk/>
            <pc:sldMk cId="1237986862" sldId="4337"/>
            <ac:picMk id="36" creationId="{0BDC9036-025D-43F9-AA73-A887588652A1}"/>
          </ac:picMkLst>
        </pc:picChg>
        <pc:picChg chg="mod">
          <ac:chgData name="Peter De Tender" userId="b54b6209-5f27-411f-8c6b-6b5d6b548771" providerId="ADAL" clId="{B50FF5B2-89CF-4CC6-A692-419D39814DB0}" dt="2019-08-17T15:48:35.648" v="2640" actId="207"/>
          <ac:picMkLst>
            <pc:docMk/>
            <pc:sldMk cId="1237986862" sldId="4337"/>
            <ac:picMk id="38" creationId="{ABF23BC7-1AA2-4459-BE12-18A85FDCC87A}"/>
          </ac:picMkLst>
        </pc:picChg>
      </pc:sldChg>
      <pc:sldChg chg="addSp delSp modSp add">
        <pc:chgData name="Peter De Tender" userId="b54b6209-5f27-411f-8c6b-6b5d6b548771" providerId="ADAL" clId="{B50FF5B2-89CF-4CC6-A692-419D39814DB0}" dt="2019-08-19T15:08:05.051" v="8009" actId="208"/>
        <pc:sldMkLst>
          <pc:docMk/>
          <pc:sldMk cId="1870271081" sldId="4347"/>
        </pc:sldMkLst>
        <pc:spChg chg="mod">
          <ac:chgData name="Peter De Tender" userId="b54b6209-5f27-411f-8c6b-6b5d6b548771" providerId="ADAL" clId="{B50FF5B2-89CF-4CC6-A692-419D39814DB0}" dt="2019-08-17T17:34:19.384" v="6547" actId="20577"/>
          <ac:spMkLst>
            <pc:docMk/>
            <pc:sldMk cId="1870271081" sldId="4347"/>
            <ac:spMk id="2" creationId="{BF454EB7-21A4-4C4E-A5C6-8E2BFD292C38}"/>
          </ac:spMkLst>
        </pc:spChg>
        <pc:spChg chg="mod">
          <ac:chgData name="Peter De Tender" userId="b54b6209-5f27-411f-8c6b-6b5d6b548771" providerId="ADAL" clId="{B50FF5B2-89CF-4CC6-A692-419D39814DB0}" dt="2019-08-19T12:37:49.815" v="6899" actId="5793"/>
          <ac:spMkLst>
            <pc:docMk/>
            <pc:sldMk cId="1870271081" sldId="4347"/>
            <ac:spMk id="3" creationId="{DE60B770-F0BE-4A09-8C99-A059B7F67810}"/>
          </ac:spMkLst>
        </pc:spChg>
        <pc:picChg chg="add del mod">
          <ac:chgData name="Peter De Tender" userId="b54b6209-5f27-411f-8c6b-6b5d6b548771" providerId="ADAL" clId="{B50FF5B2-89CF-4CC6-A692-419D39814DB0}" dt="2019-08-19T12:37:43.492" v="6896" actId="478"/>
          <ac:picMkLst>
            <pc:docMk/>
            <pc:sldMk cId="1870271081" sldId="4347"/>
            <ac:picMk id="4" creationId="{ED55F2DE-AFA6-403B-9E64-34553625DFA0}"/>
          </ac:picMkLst>
        </pc:picChg>
        <pc:picChg chg="add mod">
          <ac:chgData name="Peter De Tender" userId="b54b6209-5f27-411f-8c6b-6b5d6b548771" providerId="ADAL" clId="{B50FF5B2-89CF-4CC6-A692-419D39814DB0}" dt="2019-08-19T15:08:05.051" v="8009" actId="208"/>
          <ac:picMkLst>
            <pc:docMk/>
            <pc:sldMk cId="1870271081" sldId="4347"/>
            <ac:picMk id="5" creationId="{3C426D16-A203-4866-8041-FF43D43AA5FE}"/>
          </ac:picMkLst>
        </pc:picChg>
      </pc:sldChg>
      <pc:sldChg chg="addSp delSp modSp add">
        <pc:chgData name="Peter De Tender" userId="b54b6209-5f27-411f-8c6b-6b5d6b548771" providerId="ADAL" clId="{B50FF5B2-89CF-4CC6-A692-419D39814DB0}" dt="2019-08-19T12:23:21.676" v="6623" actId="1076"/>
        <pc:sldMkLst>
          <pc:docMk/>
          <pc:sldMk cId="1875226205" sldId="4348"/>
        </pc:sldMkLst>
        <pc:spChg chg="del">
          <ac:chgData name="Peter De Tender" userId="b54b6209-5f27-411f-8c6b-6b5d6b548771" providerId="ADAL" clId="{B50FF5B2-89CF-4CC6-A692-419D39814DB0}" dt="2019-08-17T17:37:18.003" v="6555"/>
          <ac:spMkLst>
            <pc:docMk/>
            <pc:sldMk cId="1875226205" sldId="4348"/>
            <ac:spMk id="2" creationId="{EFDD1231-22EC-4EB1-B886-EEB4F2F48B15}"/>
          </ac:spMkLst>
        </pc:spChg>
        <pc:spChg chg="del">
          <ac:chgData name="Peter De Tender" userId="b54b6209-5f27-411f-8c6b-6b5d6b548771" providerId="ADAL" clId="{B50FF5B2-89CF-4CC6-A692-419D39814DB0}" dt="2019-08-17T17:37:18.003" v="6555"/>
          <ac:spMkLst>
            <pc:docMk/>
            <pc:sldMk cId="1875226205" sldId="4348"/>
            <ac:spMk id="3" creationId="{C5B31818-CC5E-493C-95EA-DEEB545C0529}"/>
          </ac:spMkLst>
        </pc:spChg>
        <pc:spChg chg="del">
          <ac:chgData name="Peter De Tender" userId="b54b6209-5f27-411f-8c6b-6b5d6b548771" providerId="ADAL" clId="{B50FF5B2-89CF-4CC6-A692-419D39814DB0}" dt="2019-08-17T17:37:18.003" v="6555"/>
          <ac:spMkLst>
            <pc:docMk/>
            <pc:sldMk cId="1875226205" sldId="4348"/>
            <ac:spMk id="4" creationId="{23E2E0CD-1111-4AC9-9CCA-10E34D0430CB}"/>
          </ac:spMkLst>
        </pc:spChg>
        <pc:spChg chg="add mod">
          <ac:chgData name="Peter De Tender" userId="b54b6209-5f27-411f-8c6b-6b5d6b548771" providerId="ADAL" clId="{B50FF5B2-89CF-4CC6-A692-419D39814DB0}" dt="2019-08-17T17:37:21.450" v="6567" actId="20577"/>
          <ac:spMkLst>
            <pc:docMk/>
            <pc:sldMk cId="1875226205" sldId="4348"/>
            <ac:spMk id="5" creationId="{B25F5ED4-C8FC-496E-8A63-F4105F72975E}"/>
          </ac:spMkLst>
        </pc:spChg>
        <pc:spChg chg="add mod">
          <ac:chgData name="Peter De Tender" userId="b54b6209-5f27-411f-8c6b-6b5d6b548771" providerId="ADAL" clId="{B50FF5B2-89CF-4CC6-A692-419D39814DB0}" dt="2019-08-17T17:38:15.673" v="6615" actId="20577"/>
          <ac:spMkLst>
            <pc:docMk/>
            <pc:sldMk cId="1875226205" sldId="4348"/>
            <ac:spMk id="6" creationId="{5067AB29-3AE1-4A63-8CDA-1E378DBDAA42}"/>
          </ac:spMkLst>
        </pc:spChg>
        <pc:picChg chg="add mod">
          <ac:chgData name="Peter De Tender" userId="b54b6209-5f27-411f-8c6b-6b5d6b548771" providerId="ADAL" clId="{B50FF5B2-89CF-4CC6-A692-419D39814DB0}" dt="2019-08-19T12:23:21.676" v="6623" actId="1076"/>
          <ac:picMkLst>
            <pc:docMk/>
            <pc:sldMk cId="1875226205" sldId="4348"/>
            <ac:picMk id="7" creationId="{C9D199B4-6C8E-42DC-96E4-20906DA1D31F}"/>
          </ac:picMkLst>
        </pc:picChg>
        <pc:picChg chg="add mod">
          <ac:chgData name="Peter De Tender" userId="b54b6209-5f27-411f-8c6b-6b5d6b548771" providerId="ADAL" clId="{B50FF5B2-89CF-4CC6-A692-419D39814DB0}" dt="2019-08-19T12:23:19.419" v="6622" actId="1076"/>
          <ac:picMkLst>
            <pc:docMk/>
            <pc:sldMk cId="1875226205" sldId="4348"/>
            <ac:picMk id="8" creationId="{966F6583-2471-4CAE-B2EF-90D4B56E1BEA}"/>
          </ac:picMkLst>
        </pc:picChg>
      </pc:sldChg>
      <pc:sldChg chg="addSp delSp modSp add ord">
        <pc:chgData name="Peter De Tender" userId="b54b6209-5f27-411f-8c6b-6b5d6b548771" providerId="ADAL" clId="{B50FF5B2-89CF-4CC6-A692-419D39814DB0}" dt="2019-08-19T14:56:57.618" v="7412"/>
        <pc:sldMkLst>
          <pc:docMk/>
          <pc:sldMk cId="323445137" sldId="4349"/>
        </pc:sldMkLst>
        <pc:spChg chg="del">
          <ac:chgData name="Peter De Tender" userId="b54b6209-5f27-411f-8c6b-6b5d6b548771" providerId="ADAL" clId="{B50FF5B2-89CF-4CC6-A692-419D39814DB0}" dt="2019-08-19T12:36:15.867" v="6830"/>
          <ac:spMkLst>
            <pc:docMk/>
            <pc:sldMk cId="323445137" sldId="4349"/>
            <ac:spMk id="2" creationId="{53DA65EE-54D8-4CE2-9776-3BB6F1EEFC21}"/>
          </ac:spMkLst>
        </pc:spChg>
        <pc:spChg chg="del">
          <ac:chgData name="Peter De Tender" userId="b54b6209-5f27-411f-8c6b-6b5d6b548771" providerId="ADAL" clId="{B50FF5B2-89CF-4CC6-A692-419D39814DB0}" dt="2019-08-19T12:36:15.867" v="6830"/>
          <ac:spMkLst>
            <pc:docMk/>
            <pc:sldMk cId="323445137" sldId="4349"/>
            <ac:spMk id="3" creationId="{4BD6736D-6088-44A3-B309-A03F412570F5}"/>
          </ac:spMkLst>
        </pc:spChg>
        <pc:spChg chg="add mod">
          <ac:chgData name="Peter De Tender" userId="b54b6209-5f27-411f-8c6b-6b5d6b548771" providerId="ADAL" clId="{B50FF5B2-89CF-4CC6-A692-419D39814DB0}" dt="2019-08-19T14:55:46.927" v="7314" actId="20577"/>
          <ac:spMkLst>
            <pc:docMk/>
            <pc:sldMk cId="323445137" sldId="4349"/>
            <ac:spMk id="4" creationId="{15D98BDD-504A-4E3A-B5C6-80266B1017B2}"/>
          </ac:spMkLst>
        </pc:spChg>
        <pc:spChg chg="add mod">
          <ac:chgData name="Peter De Tender" userId="b54b6209-5f27-411f-8c6b-6b5d6b548771" providerId="ADAL" clId="{B50FF5B2-89CF-4CC6-A692-419D39814DB0}" dt="2019-08-19T14:56:40.026" v="7409" actId="20577"/>
          <ac:spMkLst>
            <pc:docMk/>
            <pc:sldMk cId="323445137" sldId="4349"/>
            <ac:spMk id="5" creationId="{256ADD9F-D161-497D-B4B8-DA29837E8460}"/>
          </ac:spMkLst>
        </pc:spChg>
        <pc:picChg chg="add mod">
          <ac:chgData name="Peter De Tender" userId="b54b6209-5f27-411f-8c6b-6b5d6b548771" providerId="ADAL" clId="{B50FF5B2-89CF-4CC6-A692-419D39814DB0}" dt="2019-08-19T14:56:48.505" v="7411" actId="1076"/>
          <ac:picMkLst>
            <pc:docMk/>
            <pc:sldMk cId="323445137" sldId="4349"/>
            <ac:picMk id="6" creationId="{D3DE2F96-BA20-41E1-B0A8-10C78935EF77}"/>
          </ac:picMkLst>
        </pc:picChg>
      </pc:sldChg>
      <pc:sldChg chg="addSp delSp modSp add">
        <pc:chgData name="Peter De Tender" userId="b54b6209-5f27-411f-8c6b-6b5d6b548771" providerId="ADAL" clId="{B50FF5B2-89CF-4CC6-A692-419D39814DB0}" dt="2019-08-19T15:07:44.477" v="8004" actId="208"/>
        <pc:sldMkLst>
          <pc:docMk/>
          <pc:sldMk cId="1295095696" sldId="4350"/>
        </pc:sldMkLst>
        <pc:spChg chg="mod">
          <ac:chgData name="Peter De Tender" userId="b54b6209-5f27-411f-8c6b-6b5d6b548771" providerId="ADAL" clId="{B50FF5B2-89CF-4CC6-A692-419D39814DB0}" dt="2019-08-19T12:43:58.372" v="6949" actId="20577"/>
          <ac:spMkLst>
            <pc:docMk/>
            <pc:sldMk cId="1295095696" sldId="4350"/>
            <ac:spMk id="3" creationId="{DE60B770-F0BE-4A09-8C99-A059B7F67810}"/>
          </ac:spMkLst>
        </pc:spChg>
        <pc:picChg chg="del">
          <ac:chgData name="Peter De Tender" userId="b54b6209-5f27-411f-8c6b-6b5d6b548771" providerId="ADAL" clId="{B50FF5B2-89CF-4CC6-A692-419D39814DB0}" dt="2019-08-19T12:44:00.881" v="6950" actId="478"/>
          <ac:picMkLst>
            <pc:docMk/>
            <pc:sldMk cId="1295095696" sldId="4350"/>
            <ac:picMk id="4" creationId="{ED55F2DE-AFA6-403B-9E64-34553625DFA0}"/>
          </ac:picMkLst>
        </pc:picChg>
        <pc:picChg chg="add mod">
          <ac:chgData name="Peter De Tender" userId="b54b6209-5f27-411f-8c6b-6b5d6b548771" providerId="ADAL" clId="{B50FF5B2-89CF-4CC6-A692-419D39814DB0}" dt="2019-08-19T15:07:44.477" v="8004" actId="208"/>
          <ac:picMkLst>
            <pc:docMk/>
            <pc:sldMk cId="1295095696" sldId="4350"/>
            <ac:picMk id="5" creationId="{0C96AFE1-991C-42B5-B19A-85F8A6442431}"/>
          </ac:picMkLst>
        </pc:picChg>
      </pc:sldChg>
      <pc:sldChg chg="addSp delSp modSp add">
        <pc:chgData name="Peter De Tender" userId="b54b6209-5f27-411f-8c6b-6b5d6b548771" providerId="ADAL" clId="{B50FF5B2-89CF-4CC6-A692-419D39814DB0}" dt="2019-08-19T15:07:47.981" v="8005" actId="208"/>
        <pc:sldMkLst>
          <pc:docMk/>
          <pc:sldMk cId="3384366457" sldId="4351"/>
        </pc:sldMkLst>
        <pc:picChg chg="del">
          <ac:chgData name="Peter De Tender" userId="b54b6209-5f27-411f-8c6b-6b5d6b548771" providerId="ADAL" clId="{B50FF5B2-89CF-4CC6-A692-419D39814DB0}" dt="2019-08-19T12:43:36.267" v="6919" actId="478"/>
          <ac:picMkLst>
            <pc:docMk/>
            <pc:sldMk cId="3384366457" sldId="4351"/>
            <ac:picMk id="4" creationId="{ED55F2DE-AFA6-403B-9E64-34553625DFA0}"/>
          </ac:picMkLst>
        </pc:picChg>
        <pc:picChg chg="add mod">
          <ac:chgData name="Peter De Tender" userId="b54b6209-5f27-411f-8c6b-6b5d6b548771" providerId="ADAL" clId="{B50FF5B2-89CF-4CC6-A692-419D39814DB0}" dt="2019-08-19T15:07:47.981" v="8005" actId="208"/>
          <ac:picMkLst>
            <pc:docMk/>
            <pc:sldMk cId="3384366457" sldId="4351"/>
            <ac:picMk id="5" creationId="{C88C83E8-AE4D-461A-99DE-C2B4D0A61973}"/>
          </ac:picMkLst>
        </pc:picChg>
      </pc:sldChg>
      <pc:sldChg chg="addSp delSp modSp add">
        <pc:chgData name="Peter De Tender" userId="b54b6209-5f27-411f-8c6b-6b5d6b548771" providerId="ADAL" clId="{B50FF5B2-89CF-4CC6-A692-419D39814DB0}" dt="2019-08-19T15:07:51.183" v="8006" actId="208"/>
        <pc:sldMkLst>
          <pc:docMk/>
          <pc:sldMk cId="421657464" sldId="4352"/>
        </pc:sldMkLst>
        <pc:spChg chg="mod">
          <ac:chgData name="Peter De Tender" userId="b54b6209-5f27-411f-8c6b-6b5d6b548771" providerId="ADAL" clId="{B50FF5B2-89CF-4CC6-A692-419D39814DB0}" dt="2019-08-19T12:42:58.992" v="6918" actId="5793"/>
          <ac:spMkLst>
            <pc:docMk/>
            <pc:sldMk cId="421657464" sldId="4352"/>
            <ac:spMk id="3" creationId="{DE60B770-F0BE-4A09-8C99-A059B7F67810}"/>
          </ac:spMkLst>
        </pc:spChg>
        <pc:picChg chg="del">
          <ac:chgData name="Peter De Tender" userId="b54b6209-5f27-411f-8c6b-6b5d6b548771" providerId="ADAL" clId="{B50FF5B2-89CF-4CC6-A692-419D39814DB0}" dt="2019-08-19T12:42:41.138" v="6911" actId="478"/>
          <ac:picMkLst>
            <pc:docMk/>
            <pc:sldMk cId="421657464" sldId="4352"/>
            <ac:picMk id="4" creationId="{ED55F2DE-AFA6-403B-9E64-34553625DFA0}"/>
          </ac:picMkLst>
        </pc:picChg>
        <pc:picChg chg="add mod">
          <ac:chgData name="Peter De Tender" userId="b54b6209-5f27-411f-8c6b-6b5d6b548771" providerId="ADAL" clId="{B50FF5B2-89CF-4CC6-A692-419D39814DB0}" dt="2019-08-19T15:07:51.183" v="8006" actId="208"/>
          <ac:picMkLst>
            <pc:docMk/>
            <pc:sldMk cId="421657464" sldId="4352"/>
            <ac:picMk id="5" creationId="{CC6B37E7-E982-4932-9FED-B88611A81950}"/>
          </ac:picMkLst>
        </pc:picChg>
      </pc:sldChg>
      <pc:sldChg chg="addSp delSp modSp add">
        <pc:chgData name="Peter De Tender" userId="b54b6209-5f27-411f-8c6b-6b5d6b548771" providerId="ADAL" clId="{B50FF5B2-89CF-4CC6-A692-419D39814DB0}" dt="2019-08-19T15:07:56.237" v="8007" actId="208"/>
        <pc:sldMkLst>
          <pc:docMk/>
          <pc:sldMk cId="1183939943" sldId="4353"/>
        </pc:sldMkLst>
        <pc:spChg chg="mod">
          <ac:chgData name="Peter De Tender" userId="b54b6209-5f27-411f-8c6b-6b5d6b548771" providerId="ADAL" clId="{B50FF5B2-89CF-4CC6-A692-419D39814DB0}" dt="2019-08-19T12:42:37.996" v="6910" actId="6549"/>
          <ac:spMkLst>
            <pc:docMk/>
            <pc:sldMk cId="1183939943" sldId="4353"/>
            <ac:spMk id="3" creationId="{DE60B770-F0BE-4A09-8C99-A059B7F67810}"/>
          </ac:spMkLst>
        </pc:spChg>
        <pc:picChg chg="del">
          <ac:chgData name="Peter De Tender" userId="b54b6209-5f27-411f-8c6b-6b5d6b548771" providerId="ADAL" clId="{B50FF5B2-89CF-4CC6-A692-419D39814DB0}" dt="2019-08-19T12:38:39.716" v="6903" actId="478"/>
          <ac:picMkLst>
            <pc:docMk/>
            <pc:sldMk cId="1183939943" sldId="4353"/>
            <ac:picMk id="4" creationId="{ED55F2DE-AFA6-403B-9E64-34553625DFA0}"/>
          </ac:picMkLst>
        </pc:picChg>
        <pc:picChg chg="add mod">
          <ac:chgData name="Peter De Tender" userId="b54b6209-5f27-411f-8c6b-6b5d6b548771" providerId="ADAL" clId="{B50FF5B2-89CF-4CC6-A692-419D39814DB0}" dt="2019-08-19T15:07:56.237" v="8007" actId="208"/>
          <ac:picMkLst>
            <pc:docMk/>
            <pc:sldMk cId="1183939943" sldId="4353"/>
            <ac:picMk id="5" creationId="{6494242D-DA53-4016-B28E-707A4C7C0DC8}"/>
          </ac:picMkLst>
        </pc:picChg>
      </pc:sldChg>
      <pc:sldChg chg="addSp delSp modSp add">
        <pc:chgData name="Peter De Tender" userId="b54b6209-5f27-411f-8c6b-6b5d6b548771" providerId="ADAL" clId="{B50FF5B2-89CF-4CC6-A692-419D39814DB0}" dt="2019-08-19T15:07:59.711" v="8008" actId="208"/>
        <pc:sldMkLst>
          <pc:docMk/>
          <pc:sldMk cId="3226505137" sldId="4354"/>
        </pc:sldMkLst>
        <pc:spChg chg="mod">
          <ac:chgData name="Peter De Tender" userId="b54b6209-5f27-411f-8c6b-6b5d6b548771" providerId="ADAL" clId="{B50FF5B2-89CF-4CC6-A692-419D39814DB0}" dt="2019-08-19T12:37:04.593" v="6891" actId="5793"/>
          <ac:spMkLst>
            <pc:docMk/>
            <pc:sldMk cId="3226505137" sldId="4354"/>
            <ac:spMk id="3" creationId="{DE60B770-F0BE-4A09-8C99-A059B7F67810}"/>
          </ac:spMkLst>
        </pc:spChg>
        <pc:picChg chg="del">
          <ac:chgData name="Peter De Tender" userId="b54b6209-5f27-411f-8c6b-6b5d6b548771" providerId="ADAL" clId="{B50FF5B2-89CF-4CC6-A692-419D39814DB0}" dt="2019-08-19T12:37:25.705" v="6892" actId="478"/>
          <ac:picMkLst>
            <pc:docMk/>
            <pc:sldMk cId="3226505137" sldId="4354"/>
            <ac:picMk id="4" creationId="{ED55F2DE-AFA6-403B-9E64-34553625DFA0}"/>
          </ac:picMkLst>
        </pc:picChg>
        <pc:picChg chg="add del mod">
          <ac:chgData name="Peter De Tender" userId="b54b6209-5f27-411f-8c6b-6b5d6b548771" providerId="ADAL" clId="{B50FF5B2-89CF-4CC6-A692-419D39814DB0}" dt="2019-08-19T12:38:28.542" v="6900" actId="478"/>
          <ac:picMkLst>
            <pc:docMk/>
            <pc:sldMk cId="3226505137" sldId="4354"/>
            <ac:picMk id="5" creationId="{F9917539-76CA-4434-B926-5ECB8908FCEE}"/>
          </ac:picMkLst>
        </pc:picChg>
        <pc:picChg chg="add mod">
          <ac:chgData name="Peter De Tender" userId="b54b6209-5f27-411f-8c6b-6b5d6b548771" providerId="ADAL" clId="{B50FF5B2-89CF-4CC6-A692-419D39814DB0}" dt="2019-08-19T15:07:59.711" v="8008" actId="208"/>
          <ac:picMkLst>
            <pc:docMk/>
            <pc:sldMk cId="3226505137" sldId="4354"/>
            <ac:picMk id="6" creationId="{DA42C1EB-54A6-4841-AEAC-90FEB494EBF9}"/>
          </ac:picMkLst>
        </pc:picChg>
      </pc:sldChg>
      <pc:sldChg chg="addSp delSp modSp">
        <pc:chgData name="Peter De Tender" userId="b54b6209-5f27-411f-8c6b-6b5d6b548771" providerId="ADAL" clId="{B50FF5B2-89CF-4CC6-A692-419D39814DB0}" dt="2019-08-19T15:07:39.042" v="8003" actId="208"/>
        <pc:sldMkLst>
          <pc:docMk/>
          <pc:sldMk cId="2564929492" sldId="4355"/>
        </pc:sldMkLst>
        <pc:spChg chg="mod">
          <ac:chgData name="Peter De Tender" userId="b54b6209-5f27-411f-8c6b-6b5d6b548771" providerId="ADAL" clId="{B50FF5B2-89CF-4CC6-A692-419D39814DB0}" dt="2019-08-19T14:43:54.522" v="6959" actId="20577"/>
          <ac:spMkLst>
            <pc:docMk/>
            <pc:sldMk cId="2564929492" sldId="4355"/>
            <ac:spMk id="5" creationId="{12E6B4ED-EA4E-4478-AC3D-C0BDC02899CB}"/>
          </ac:spMkLst>
        </pc:spChg>
        <pc:spChg chg="mod">
          <ac:chgData name="Peter De Tender" userId="b54b6209-5f27-411f-8c6b-6b5d6b548771" providerId="ADAL" clId="{B50FF5B2-89CF-4CC6-A692-419D39814DB0}" dt="2019-08-19T14:46:19.836" v="7118" actId="20577"/>
          <ac:spMkLst>
            <pc:docMk/>
            <pc:sldMk cId="2564929492" sldId="4355"/>
            <ac:spMk id="6" creationId="{0D0E6C1F-D618-432F-B7C0-4451586B26A1}"/>
          </ac:spMkLst>
        </pc:spChg>
        <pc:picChg chg="add mod">
          <ac:chgData name="Peter De Tender" userId="b54b6209-5f27-411f-8c6b-6b5d6b548771" providerId="ADAL" clId="{B50FF5B2-89CF-4CC6-A692-419D39814DB0}" dt="2019-08-19T15:07:39.042" v="8003" actId="208"/>
          <ac:picMkLst>
            <pc:docMk/>
            <pc:sldMk cId="2564929492" sldId="4355"/>
            <ac:picMk id="2" creationId="{B1287266-0170-482D-B6D8-B349D9A4FA3D}"/>
          </ac:picMkLst>
        </pc:picChg>
        <pc:picChg chg="del">
          <ac:chgData name="Peter De Tender" userId="b54b6209-5f27-411f-8c6b-6b5d6b548771" providerId="ADAL" clId="{B50FF5B2-89CF-4CC6-A692-419D39814DB0}" dt="2019-08-19T14:44:45.388" v="6960" actId="478"/>
          <ac:picMkLst>
            <pc:docMk/>
            <pc:sldMk cId="2564929492" sldId="4355"/>
            <ac:picMk id="7" creationId="{3FAA08A0-124D-4160-8174-A7CCEA21B292}"/>
          </ac:picMkLst>
        </pc:picChg>
      </pc:sldChg>
      <pc:sldChg chg="addSp delSp modSp">
        <pc:chgData name="Peter De Tender" userId="b54b6209-5f27-411f-8c6b-6b5d6b548771" providerId="ADAL" clId="{B50FF5B2-89CF-4CC6-A692-419D39814DB0}" dt="2019-08-19T15:07:35.425" v="8002" actId="208"/>
        <pc:sldMkLst>
          <pc:docMk/>
          <pc:sldMk cId="1646240418" sldId="4356"/>
        </pc:sldMkLst>
        <pc:spChg chg="mod">
          <ac:chgData name="Peter De Tender" userId="b54b6209-5f27-411f-8c6b-6b5d6b548771" providerId="ADAL" clId="{B50FF5B2-89CF-4CC6-A692-419D39814DB0}" dt="2019-08-19T14:47:02.106" v="7138" actId="20577"/>
          <ac:spMkLst>
            <pc:docMk/>
            <pc:sldMk cId="1646240418" sldId="4356"/>
            <ac:spMk id="2" creationId="{BF454EB7-21A4-4C4E-A5C6-8E2BFD292C38}"/>
          </ac:spMkLst>
        </pc:spChg>
        <pc:spChg chg="mod">
          <ac:chgData name="Peter De Tender" userId="b54b6209-5f27-411f-8c6b-6b5d6b548771" providerId="ADAL" clId="{B50FF5B2-89CF-4CC6-A692-419D39814DB0}" dt="2019-08-19T14:47:48.207" v="7159" actId="20577"/>
          <ac:spMkLst>
            <pc:docMk/>
            <pc:sldMk cId="1646240418" sldId="4356"/>
            <ac:spMk id="3" creationId="{DE60B770-F0BE-4A09-8C99-A059B7F67810}"/>
          </ac:spMkLst>
        </pc:spChg>
        <pc:picChg chg="add mod">
          <ac:chgData name="Peter De Tender" userId="b54b6209-5f27-411f-8c6b-6b5d6b548771" providerId="ADAL" clId="{B50FF5B2-89CF-4CC6-A692-419D39814DB0}" dt="2019-08-19T15:07:35.425" v="8002" actId="208"/>
          <ac:picMkLst>
            <pc:docMk/>
            <pc:sldMk cId="1646240418" sldId="4356"/>
            <ac:picMk id="4" creationId="{3EF4D0F3-D4FD-4A32-8A68-B0EA73387EA9}"/>
          </ac:picMkLst>
        </pc:picChg>
        <pc:picChg chg="del">
          <ac:chgData name="Peter De Tender" userId="b54b6209-5f27-411f-8c6b-6b5d6b548771" providerId="ADAL" clId="{B50FF5B2-89CF-4CC6-A692-419D39814DB0}" dt="2019-08-19T14:48:15.439" v="7160" actId="478"/>
          <ac:picMkLst>
            <pc:docMk/>
            <pc:sldMk cId="1646240418" sldId="4356"/>
            <ac:picMk id="5" creationId="{3C426D16-A203-4866-8041-FF43D43AA5FE}"/>
          </ac:picMkLst>
        </pc:picChg>
      </pc:sldChg>
      <pc:sldChg chg="addSp delSp modSp">
        <pc:chgData name="Peter De Tender" userId="b54b6209-5f27-411f-8c6b-6b5d6b548771" providerId="ADAL" clId="{B50FF5B2-89CF-4CC6-A692-419D39814DB0}" dt="2019-08-19T14:50:17" v="7189" actId="208"/>
        <pc:sldMkLst>
          <pc:docMk/>
          <pc:sldMk cId="397089280" sldId="4357"/>
        </pc:sldMkLst>
        <pc:spChg chg="mod">
          <ac:chgData name="Peter De Tender" userId="b54b6209-5f27-411f-8c6b-6b5d6b548771" providerId="ADAL" clId="{B50FF5B2-89CF-4CC6-A692-419D39814DB0}" dt="2019-08-19T14:47:13.478" v="7148" actId="20577"/>
          <ac:spMkLst>
            <pc:docMk/>
            <pc:sldMk cId="397089280" sldId="4357"/>
            <ac:spMk id="2" creationId="{BF454EB7-21A4-4C4E-A5C6-8E2BFD292C38}"/>
          </ac:spMkLst>
        </pc:spChg>
        <pc:spChg chg="mod">
          <ac:chgData name="Peter De Tender" userId="b54b6209-5f27-411f-8c6b-6b5d6b548771" providerId="ADAL" clId="{B50FF5B2-89CF-4CC6-A692-419D39814DB0}" dt="2019-08-19T14:48:36.409" v="7179" actId="20577"/>
          <ac:spMkLst>
            <pc:docMk/>
            <pc:sldMk cId="397089280" sldId="4357"/>
            <ac:spMk id="3" creationId="{DE60B770-F0BE-4A09-8C99-A059B7F67810}"/>
          </ac:spMkLst>
        </pc:spChg>
        <pc:picChg chg="add mod">
          <ac:chgData name="Peter De Tender" userId="b54b6209-5f27-411f-8c6b-6b5d6b548771" providerId="ADAL" clId="{B50FF5B2-89CF-4CC6-A692-419D39814DB0}" dt="2019-08-19T14:50:13.595" v="7188" actId="208"/>
          <ac:picMkLst>
            <pc:docMk/>
            <pc:sldMk cId="397089280" sldId="4357"/>
            <ac:picMk id="4" creationId="{4F71B5BD-C7BC-471D-8615-9A6B5113EE48}"/>
          </ac:picMkLst>
        </pc:picChg>
        <pc:picChg chg="add mod">
          <ac:chgData name="Peter De Tender" userId="b54b6209-5f27-411f-8c6b-6b5d6b548771" providerId="ADAL" clId="{B50FF5B2-89CF-4CC6-A692-419D39814DB0}" dt="2019-08-19T14:50:17" v="7189" actId="208"/>
          <ac:picMkLst>
            <pc:docMk/>
            <pc:sldMk cId="397089280" sldId="4357"/>
            <ac:picMk id="5" creationId="{CE5178FF-F63B-4D8D-BBCC-89C4E3D685A7}"/>
          </ac:picMkLst>
        </pc:picChg>
        <pc:picChg chg="del">
          <ac:chgData name="Peter De Tender" userId="b54b6209-5f27-411f-8c6b-6b5d6b548771" providerId="ADAL" clId="{B50FF5B2-89CF-4CC6-A692-419D39814DB0}" dt="2019-08-19T14:48:39.865" v="7180" actId="478"/>
          <ac:picMkLst>
            <pc:docMk/>
            <pc:sldMk cId="397089280" sldId="4357"/>
            <ac:picMk id="6" creationId="{DA42C1EB-54A6-4841-AEAC-90FEB494EBF9}"/>
          </ac:picMkLst>
        </pc:picChg>
      </pc:sldChg>
      <pc:sldChg chg="modSp del">
        <pc:chgData name="Peter De Tender" userId="b54b6209-5f27-411f-8c6b-6b5d6b548771" providerId="ADAL" clId="{B50FF5B2-89CF-4CC6-A692-419D39814DB0}" dt="2019-08-19T14:50:23.488" v="7190" actId="2696"/>
        <pc:sldMkLst>
          <pc:docMk/>
          <pc:sldMk cId="1153965703" sldId="4358"/>
        </pc:sldMkLst>
        <pc:spChg chg="mod">
          <ac:chgData name="Peter De Tender" userId="b54b6209-5f27-411f-8c6b-6b5d6b548771" providerId="ADAL" clId="{B50FF5B2-89CF-4CC6-A692-419D39814DB0}" dt="2019-08-19T14:47:22.505" v="7149"/>
          <ac:spMkLst>
            <pc:docMk/>
            <pc:sldMk cId="1153965703" sldId="4358"/>
            <ac:spMk id="2" creationId="{BF454EB7-21A4-4C4E-A5C6-8E2BFD292C38}"/>
          </ac:spMkLst>
        </pc:spChg>
      </pc:sldChg>
      <pc:sldChg chg="addSp delSp modSp add">
        <pc:chgData name="Peter De Tender" userId="b54b6209-5f27-411f-8c6b-6b5d6b548771" providerId="ADAL" clId="{B50FF5B2-89CF-4CC6-A692-419D39814DB0}" dt="2019-08-19T15:07:28.136" v="8001" actId="208"/>
        <pc:sldMkLst>
          <pc:docMk/>
          <pc:sldMk cId="1821525342" sldId="4358"/>
        </pc:sldMkLst>
        <pc:spChg chg="mod">
          <ac:chgData name="Peter De Tender" userId="b54b6209-5f27-411f-8c6b-6b5d6b548771" providerId="ADAL" clId="{B50FF5B2-89CF-4CC6-A692-419D39814DB0}" dt="2019-08-19T14:51:43.694" v="7221" actId="20577"/>
          <ac:spMkLst>
            <pc:docMk/>
            <pc:sldMk cId="1821525342" sldId="4358"/>
            <ac:spMk id="3" creationId="{DE60B770-F0BE-4A09-8C99-A059B7F67810}"/>
          </ac:spMkLst>
        </pc:spChg>
        <pc:picChg chg="del">
          <ac:chgData name="Peter De Tender" userId="b54b6209-5f27-411f-8c6b-6b5d6b548771" providerId="ADAL" clId="{B50FF5B2-89CF-4CC6-A692-419D39814DB0}" dt="2019-08-19T14:50:33.976" v="7195" actId="478"/>
          <ac:picMkLst>
            <pc:docMk/>
            <pc:sldMk cId="1821525342" sldId="4358"/>
            <ac:picMk id="4" creationId="{4F71B5BD-C7BC-471D-8615-9A6B5113EE48}"/>
          </ac:picMkLst>
        </pc:picChg>
        <pc:picChg chg="del">
          <ac:chgData name="Peter De Tender" userId="b54b6209-5f27-411f-8c6b-6b5d6b548771" providerId="ADAL" clId="{B50FF5B2-89CF-4CC6-A692-419D39814DB0}" dt="2019-08-19T14:50:35.524" v="7196" actId="478"/>
          <ac:picMkLst>
            <pc:docMk/>
            <pc:sldMk cId="1821525342" sldId="4358"/>
            <ac:picMk id="5" creationId="{CE5178FF-F63B-4D8D-BBCC-89C4E3D685A7}"/>
          </ac:picMkLst>
        </pc:picChg>
        <pc:picChg chg="add mod">
          <ac:chgData name="Peter De Tender" userId="b54b6209-5f27-411f-8c6b-6b5d6b548771" providerId="ADAL" clId="{B50FF5B2-89CF-4CC6-A692-419D39814DB0}" dt="2019-08-19T15:07:28.136" v="8001" actId="208"/>
          <ac:picMkLst>
            <pc:docMk/>
            <pc:sldMk cId="1821525342" sldId="4358"/>
            <ac:picMk id="6" creationId="{8B044530-D5D2-4764-A5E0-7ABA5FC0AA68}"/>
          </ac:picMkLst>
        </pc:picChg>
      </pc:sldChg>
      <pc:sldChg chg="addSp delSp modSp add">
        <pc:chgData name="Peter De Tender" userId="b54b6209-5f27-411f-8c6b-6b5d6b548771" providerId="ADAL" clId="{B50FF5B2-89CF-4CC6-A692-419D39814DB0}" dt="2019-08-19T14:54:44.048" v="7275" actId="208"/>
        <pc:sldMkLst>
          <pc:docMk/>
          <pc:sldMk cId="2781271725" sldId="4359"/>
        </pc:sldMkLst>
        <pc:spChg chg="mod">
          <ac:chgData name="Peter De Tender" userId="b54b6209-5f27-411f-8c6b-6b5d6b548771" providerId="ADAL" clId="{B50FF5B2-89CF-4CC6-A692-419D39814DB0}" dt="2019-08-19T14:53:31.442" v="7271" actId="20577"/>
          <ac:spMkLst>
            <pc:docMk/>
            <pc:sldMk cId="2781271725" sldId="4359"/>
            <ac:spMk id="3" creationId="{DE60B770-F0BE-4A09-8C99-A059B7F67810}"/>
          </ac:spMkLst>
        </pc:spChg>
        <pc:picChg chg="add mod">
          <ac:chgData name="Peter De Tender" userId="b54b6209-5f27-411f-8c6b-6b5d6b548771" providerId="ADAL" clId="{B50FF5B2-89CF-4CC6-A692-419D39814DB0}" dt="2019-08-19T14:54:44.048" v="7275" actId="208"/>
          <ac:picMkLst>
            <pc:docMk/>
            <pc:sldMk cId="2781271725" sldId="4359"/>
            <ac:picMk id="4" creationId="{41C3F6CD-5C86-4ABB-B9D5-FF469D76D85E}"/>
          </ac:picMkLst>
        </pc:picChg>
        <pc:picChg chg="del">
          <ac:chgData name="Peter De Tender" userId="b54b6209-5f27-411f-8c6b-6b5d6b548771" providerId="ADAL" clId="{B50FF5B2-89CF-4CC6-A692-419D39814DB0}" dt="2019-08-19T14:54:33.700" v="7272" actId="478"/>
          <ac:picMkLst>
            <pc:docMk/>
            <pc:sldMk cId="2781271725" sldId="4359"/>
            <ac:picMk id="6" creationId="{8B044530-D5D2-4764-A5E0-7ABA5FC0AA68}"/>
          </ac:picMkLst>
        </pc:picChg>
      </pc:sldChg>
      <pc:sldChg chg="modSp del">
        <pc:chgData name="Peter De Tender" userId="b54b6209-5f27-411f-8c6b-6b5d6b548771" providerId="ADAL" clId="{B50FF5B2-89CF-4CC6-A692-419D39814DB0}" dt="2019-08-19T14:50:24.592" v="7191" actId="2696"/>
        <pc:sldMkLst>
          <pc:docMk/>
          <pc:sldMk cId="3557389110" sldId="4359"/>
        </pc:sldMkLst>
        <pc:spChg chg="mod">
          <ac:chgData name="Peter De Tender" userId="b54b6209-5f27-411f-8c6b-6b5d6b548771" providerId="ADAL" clId="{B50FF5B2-89CF-4CC6-A692-419D39814DB0}" dt="2019-08-19T14:47:27.853" v="7150"/>
          <ac:spMkLst>
            <pc:docMk/>
            <pc:sldMk cId="3557389110" sldId="4359"/>
            <ac:spMk id="2" creationId="{BF454EB7-21A4-4C4E-A5C6-8E2BFD292C38}"/>
          </ac:spMkLst>
        </pc:spChg>
      </pc:sldChg>
      <pc:sldChg chg="modSp del">
        <pc:chgData name="Peter De Tender" userId="b54b6209-5f27-411f-8c6b-6b5d6b548771" providerId="ADAL" clId="{B50FF5B2-89CF-4CC6-A692-419D39814DB0}" dt="2019-08-19T14:50:25.687" v="7192" actId="2696"/>
        <pc:sldMkLst>
          <pc:docMk/>
          <pc:sldMk cId="311906782" sldId="4360"/>
        </pc:sldMkLst>
        <pc:spChg chg="mod">
          <ac:chgData name="Peter De Tender" userId="b54b6209-5f27-411f-8c6b-6b5d6b548771" providerId="ADAL" clId="{B50FF5B2-89CF-4CC6-A692-419D39814DB0}" dt="2019-08-19T14:47:33.574" v="7151"/>
          <ac:spMkLst>
            <pc:docMk/>
            <pc:sldMk cId="311906782" sldId="4360"/>
            <ac:spMk id="2" creationId="{BF454EB7-21A4-4C4E-A5C6-8E2BFD292C38}"/>
          </ac:spMkLst>
        </pc:spChg>
      </pc:sldChg>
      <pc:sldChg chg="addSp delSp modSp">
        <pc:chgData name="Peter De Tender" userId="b54b6209-5f27-411f-8c6b-6b5d6b548771" providerId="ADAL" clId="{B50FF5B2-89CF-4CC6-A692-419D39814DB0}" dt="2019-08-19T14:55:32.688" v="7292" actId="208"/>
        <pc:sldMkLst>
          <pc:docMk/>
          <pc:sldMk cId="318915537" sldId="4360"/>
        </pc:sldMkLst>
        <pc:spChg chg="mod">
          <ac:chgData name="Peter De Tender" userId="b54b6209-5f27-411f-8c6b-6b5d6b548771" providerId="ADAL" clId="{B50FF5B2-89CF-4CC6-A692-419D39814DB0}" dt="2019-08-19T14:54:59.568" v="7288" actId="20577"/>
          <ac:spMkLst>
            <pc:docMk/>
            <pc:sldMk cId="318915537" sldId="4360"/>
            <ac:spMk id="3" creationId="{DE60B770-F0BE-4A09-8C99-A059B7F67810}"/>
          </ac:spMkLst>
        </pc:spChg>
        <pc:picChg chg="del">
          <ac:chgData name="Peter De Tender" userId="b54b6209-5f27-411f-8c6b-6b5d6b548771" providerId="ADAL" clId="{B50FF5B2-89CF-4CC6-A692-419D39814DB0}" dt="2019-08-19T14:54:52.918" v="7276" actId="478"/>
          <ac:picMkLst>
            <pc:docMk/>
            <pc:sldMk cId="318915537" sldId="4360"/>
            <ac:picMk id="4" creationId="{41C3F6CD-5C86-4ABB-B9D5-FF469D76D85E}"/>
          </ac:picMkLst>
        </pc:picChg>
        <pc:picChg chg="add mod">
          <ac:chgData name="Peter De Tender" userId="b54b6209-5f27-411f-8c6b-6b5d6b548771" providerId="ADAL" clId="{B50FF5B2-89CF-4CC6-A692-419D39814DB0}" dt="2019-08-19T14:55:32.688" v="7292" actId="208"/>
          <ac:picMkLst>
            <pc:docMk/>
            <pc:sldMk cId="318915537" sldId="4360"/>
            <ac:picMk id="5" creationId="{A123A1B1-3C13-4BBB-B52F-8E7637BB6304}"/>
          </ac:picMkLst>
        </pc:picChg>
      </pc:sldChg>
      <pc:sldChg chg="modSp del">
        <pc:chgData name="Peter De Tender" userId="b54b6209-5f27-411f-8c6b-6b5d6b548771" providerId="ADAL" clId="{B50FF5B2-89CF-4CC6-A692-419D39814DB0}" dt="2019-08-19T14:50:26.816" v="7193" actId="2696"/>
        <pc:sldMkLst>
          <pc:docMk/>
          <pc:sldMk cId="929171310" sldId="4361"/>
        </pc:sldMkLst>
        <pc:spChg chg="mod">
          <ac:chgData name="Peter De Tender" userId="b54b6209-5f27-411f-8c6b-6b5d6b548771" providerId="ADAL" clId="{B50FF5B2-89CF-4CC6-A692-419D39814DB0}" dt="2019-08-19T14:47:38.094" v="7152"/>
          <ac:spMkLst>
            <pc:docMk/>
            <pc:sldMk cId="929171310" sldId="4361"/>
            <ac:spMk id="2" creationId="{BF454EB7-21A4-4C4E-A5C6-8E2BFD292C38}"/>
          </ac:spMkLst>
        </pc:spChg>
      </pc:sldChg>
      <pc:sldChg chg="addSp delSp modSp modAnim">
        <pc:chgData name="Peter De Tender" userId="b54b6209-5f27-411f-8c6b-6b5d6b548771" providerId="ADAL" clId="{B50FF5B2-89CF-4CC6-A692-419D39814DB0}" dt="2019-08-19T14:58:42.385" v="7428"/>
        <pc:sldMkLst>
          <pc:docMk/>
          <pc:sldMk cId="3055103046" sldId="4361"/>
        </pc:sldMkLst>
        <pc:spChg chg="mod">
          <ac:chgData name="Peter De Tender" userId="b54b6209-5f27-411f-8c6b-6b5d6b548771" providerId="ADAL" clId="{B50FF5B2-89CF-4CC6-A692-419D39814DB0}" dt="2019-08-19T14:57:30.593" v="7413" actId="6549"/>
          <ac:spMkLst>
            <pc:docMk/>
            <pc:sldMk cId="3055103046" sldId="4361"/>
            <ac:spMk id="5" creationId="{256ADD9F-D161-497D-B4B8-DA29837E8460}"/>
          </ac:spMkLst>
        </pc:spChg>
        <pc:picChg chg="add mod">
          <ac:chgData name="Peter De Tender" userId="b54b6209-5f27-411f-8c6b-6b5d6b548771" providerId="ADAL" clId="{B50FF5B2-89CF-4CC6-A692-419D39814DB0}" dt="2019-08-19T14:57:40.048" v="7417" actId="1076"/>
          <ac:picMkLst>
            <pc:docMk/>
            <pc:sldMk cId="3055103046" sldId="4361"/>
            <ac:picMk id="2" creationId="{051F0158-83C2-4E0E-A976-5D4BA1073B2B}"/>
          </ac:picMkLst>
        </pc:picChg>
        <pc:picChg chg="add mod">
          <ac:chgData name="Peter De Tender" userId="b54b6209-5f27-411f-8c6b-6b5d6b548771" providerId="ADAL" clId="{B50FF5B2-89CF-4CC6-A692-419D39814DB0}" dt="2019-08-19T14:58:37.136" v="7426" actId="1076"/>
          <ac:picMkLst>
            <pc:docMk/>
            <pc:sldMk cId="3055103046" sldId="4361"/>
            <ac:picMk id="3" creationId="{7BD01505-A67E-4876-8B5B-A110DF2B222A}"/>
          </ac:picMkLst>
        </pc:picChg>
        <pc:picChg chg="del">
          <ac:chgData name="Peter De Tender" userId="b54b6209-5f27-411f-8c6b-6b5d6b548771" providerId="ADAL" clId="{B50FF5B2-89CF-4CC6-A692-419D39814DB0}" dt="2019-08-19T14:57:31.689" v="7414" actId="478"/>
          <ac:picMkLst>
            <pc:docMk/>
            <pc:sldMk cId="3055103046" sldId="4361"/>
            <ac:picMk id="6" creationId="{D3DE2F96-BA20-41E1-B0A8-10C78935EF77}"/>
          </ac:picMkLst>
        </pc:picChg>
        <pc:picChg chg="add mod">
          <ac:chgData name="Peter De Tender" userId="b54b6209-5f27-411f-8c6b-6b5d6b548771" providerId="ADAL" clId="{B50FF5B2-89CF-4CC6-A692-419D39814DB0}" dt="2019-08-19T14:58:40.901" v="7427" actId="1076"/>
          <ac:picMkLst>
            <pc:docMk/>
            <pc:sldMk cId="3055103046" sldId="4361"/>
            <ac:picMk id="7" creationId="{8F52674F-261D-426B-8C92-1828181E424F}"/>
          </ac:picMkLst>
        </pc:picChg>
      </pc:sldChg>
      <pc:sldChg chg="modSp">
        <pc:chgData name="Peter De Tender" userId="b54b6209-5f27-411f-8c6b-6b5d6b548771" providerId="ADAL" clId="{B50FF5B2-89CF-4CC6-A692-419D39814DB0}" dt="2019-08-19T14:59:09.810" v="7462" actId="20577"/>
        <pc:sldMkLst>
          <pc:docMk/>
          <pc:sldMk cId="752190776" sldId="4362"/>
        </pc:sldMkLst>
        <pc:spChg chg="mod">
          <ac:chgData name="Peter De Tender" userId="b54b6209-5f27-411f-8c6b-6b5d6b548771" providerId="ADAL" clId="{B50FF5B2-89CF-4CC6-A692-419D39814DB0}" dt="2019-08-19T14:59:09.810" v="7462" actId="20577"/>
          <ac:spMkLst>
            <pc:docMk/>
            <pc:sldMk cId="752190776" sldId="4362"/>
            <ac:spMk id="4" creationId="{00000000-0000-0000-0000-000000000000}"/>
          </ac:spMkLst>
        </pc:spChg>
      </pc:sldChg>
      <pc:sldChg chg="addSp delSp modSp add">
        <pc:chgData name="Peter De Tender" userId="b54b6209-5f27-411f-8c6b-6b5d6b548771" providerId="ADAL" clId="{B50FF5B2-89CF-4CC6-A692-419D39814DB0}" dt="2019-08-19T15:01:30.974" v="7597" actId="208"/>
        <pc:sldMkLst>
          <pc:docMk/>
          <pc:sldMk cId="878724313" sldId="4363"/>
        </pc:sldMkLst>
        <pc:spChg chg="del">
          <ac:chgData name="Peter De Tender" userId="b54b6209-5f27-411f-8c6b-6b5d6b548771" providerId="ADAL" clId="{B50FF5B2-89CF-4CC6-A692-419D39814DB0}" dt="2019-08-19T15:00:25.606" v="7480" actId="478"/>
          <ac:spMkLst>
            <pc:docMk/>
            <pc:sldMk cId="878724313" sldId="4363"/>
            <ac:spMk id="2" creationId="{E61D49FA-5F2E-4005-8005-F393E6A5E117}"/>
          </ac:spMkLst>
        </pc:spChg>
        <pc:spChg chg="mod">
          <ac:chgData name="Peter De Tender" userId="b54b6209-5f27-411f-8c6b-6b5d6b548771" providerId="ADAL" clId="{B50FF5B2-89CF-4CC6-A692-419D39814DB0}" dt="2019-08-19T15:01:16.376" v="7593" actId="20577"/>
          <ac:spMkLst>
            <pc:docMk/>
            <pc:sldMk cId="878724313" sldId="4363"/>
            <ac:spMk id="3" creationId="{CEA221FE-F2EA-4809-9B79-831416F34F11}"/>
          </ac:spMkLst>
        </pc:spChg>
        <pc:spChg chg="mod">
          <ac:chgData name="Peter De Tender" userId="b54b6209-5f27-411f-8c6b-6b5d6b548771" providerId="ADAL" clId="{B50FF5B2-89CF-4CC6-A692-419D39814DB0}" dt="2019-08-19T15:00:34.482" v="7491" actId="20577"/>
          <ac:spMkLst>
            <pc:docMk/>
            <pc:sldMk cId="878724313" sldId="4363"/>
            <ac:spMk id="4" creationId="{B9D7508F-9A6D-4D61-9043-E58C07B2C7F0}"/>
          </ac:spMkLst>
        </pc:spChg>
        <pc:picChg chg="add mod">
          <ac:chgData name="Peter De Tender" userId="b54b6209-5f27-411f-8c6b-6b5d6b548771" providerId="ADAL" clId="{B50FF5B2-89CF-4CC6-A692-419D39814DB0}" dt="2019-08-19T15:01:30.974" v="7597" actId="208"/>
          <ac:picMkLst>
            <pc:docMk/>
            <pc:sldMk cId="878724313" sldId="4363"/>
            <ac:picMk id="5" creationId="{0D3F6444-AE60-49E0-BFC5-B1B935F4273F}"/>
          </ac:picMkLst>
        </pc:picChg>
      </pc:sldChg>
      <pc:sldMasterChg chg="delSldLayout">
        <pc:chgData name="Peter De Tender" userId="b54b6209-5f27-411f-8c6b-6b5d6b548771" providerId="ADAL" clId="{B50FF5B2-89CF-4CC6-A692-419D39814DB0}" dt="2019-08-17T15:38:41.331" v="1935" actId="2696"/>
        <pc:sldMasterMkLst>
          <pc:docMk/>
          <pc:sldMasterMk cId="4266282189" sldId="2147484731"/>
        </pc:sldMasterMkLst>
      </pc:sldMasterChg>
    </pc:docChg>
  </pc:docChgLst>
  <pc:docChgLst>
    <pc:chgData name="Peter De Tender" userId="b54b6209-5f27-411f-8c6b-6b5d6b548771" providerId="ADAL" clId="{1B7215C0-E1B8-49BE-B5AA-DE611573A2B6}"/>
    <pc:docChg chg="undo custSel addSld delSld modSld sldOrd modSection">
      <pc:chgData name="Peter De Tender" userId="b54b6209-5f27-411f-8c6b-6b5d6b548771" providerId="ADAL" clId="{1B7215C0-E1B8-49BE-B5AA-DE611573A2B6}" dt="2019-08-19T21:01:16.622" v="4431" actId="20577"/>
      <pc:docMkLst>
        <pc:docMk/>
      </pc:docMkLst>
      <pc:sldChg chg="modSp modTransition">
        <pc:chgData name="Peter De Tender" userId="b54b6209-5f27-411f-8c6b-6b5d6b548771" providerId="ADAL" clId="{1B7215C0-E1B8-49BE-B5AA-DE611573A2B6}" dt="2019-08-19T19:44:49.105" v="2083" actId="20577"/>
        <pc:sldMkLst>
          <pc:docMk/>
          <pc:sldMk cId="685893329" sldId="258"/>
        </pc:sldMkLst>
        <pc:spChg chg="mod">
          <ac:chgData name="Peter De Tender" userId="b54b6209-5f27-411f-8c6b-6b5d6b548771" providerId="ADAL" clId="{1B7215C0-E1B8-49BE-B5AA-DE611573A2B6}" dt="2019-08-19T19:44:49.105" v="2083" actId="20577"/>
          <ac:spMkLst>
            <pc:docMk/>
            <pc:sldMk cId="685893329" sldId="258"/>
            <ac:spMk id="3" creationId="{09ACB1E5-C7BE-4201-B4F0-0E4D6786F130}"/>
          </ac:spMkLst>
        </pc:spChg>
      </pc:sldChg>
      <pc:sldChg chg="del">
        <pc:chgData name="Peter De Tender" userId="b54b6209-5f27-411f-8c6b-6b5d6b548771" providerId="ADAL" clId="{1B7215C0-E1B8-49BE-B5AA-DE611573A2B6}" dt="2019-08-19T18:36:45.892" v="90" actId="2696"/>
        <pc:sldMkLst>
          <pc:docMk/>
          <pc:sldMk cId="183178827" sldId="295"/>
        </pc:sldMkLst>
      </pc:sldChg>
      <pc:sldChg chg="modSp">
        <pc:chgData name="Peter De Tender" userId="b54b6209-5f27-411f-8c6b-6b5d6b548771" providerId="ADAL" clId="{1B7215C0-E1B8-49BE-B5AA-DE611573A2B6}" dt="2019-08-19T20:05:00.250" v="2183" actId="20577"/>
        <pc:sldMkLst>
          <pc:docMk/>
          <pc:sldMk cId="1452875070" sldId="1460"/>
        </pc:sldMkLst>
        <pc:spChg chg="mod">
          <ac:chgData name="Peter De Tender" userId="b54b6209-5f27-411f-8c6b-6b5d6b548771" providerId="ADAL" clId="{1B7215C0-E1B8-49BE-B5AA-DE611573A2B6}" dt="2019-08-19T20:05:00.250" v="2183" actId="20577"/>
          <ac:spMkLst>
            <pc:docMk/>
            <pc:sldMk cId="1452875070" sldId="1460"/>
            <ac:spMk id="2" creationId="{683D0C95-80BE-41C2-903E-923ED02D9F45}"/>
          </ac:spMkLst>
        </pc:spChg>
      </pc:sldChg>
      <pc:sldChg chg="modSp del">
        <pc:chgData name="Peter De Tender" userId="b54b6209-5f27-411f-8c6b-6b5d6b548771" providerId="ADAL" clId="{1B7215C0-E1B8-49BE-B5AA-DE611573A2B6}" dt="2019-08-19T18:49:12.394" v="532" actId="20577"/>
        <pc:sldMkLst>
          <pc:docMk/>
          <pc:sldMk cId="203203085" sldId="1527"/>
        </pc:sldMkLst>
        <pc:spChg chg="mod">
          <ac:chgData name="Peter De Tender" userId="b54b6209-5f27-411f-8c6b-6b5d6b548771" providerId="ADAL" clId="{1B7215C0-E1B8-49BE-B5AA-DE611573A2B6}" dt="2019-08-19T18:49:00.393" v="493" actId="20577"/>
          <ac:spMkLst>
            <pc:docMk/>
            <pc:sldMk cId="203203085" sldId="1527"/>
            <ac:spMk id="3" creationId="{00000000-0000-0000-0000-000000000000}"/>
          </ac:spMkLst>
        </pc:spChg>
        <pc:spChg chg="mod">
          <ac:chgData name="Peter De Tender" userId="b54b6209-5f27-411f-8c6b-6b5d6b548771" providerId="ADAL" clId="{1B7215C0-E1B8-49BE-B5AA-DE611573A2B6}" dt="2019-08-19T18:49:12.394" v="532" actId="20577"/>
          <ac:spMkLst>
            <pc:docMk/>
            <pc:sldMk cId="203203085" sldId="1527"/>
            <ac:spMk id="4" creationId="{00000000-0000-0000-0000-000000000000}"/>
          </ac:spMkLst>
        </pc:spChg>
      </pc:sldChg>
      <pc:sldChg chg="modSp ord modAnim">
        <pc:chgData name="Peter De Tender" userId="b54b6209-5f27-411f-8c6b-6b5d6b548771" providerId="ADAL" clId="{1B7215C0-E1B8-49BE-B5AA-DE611573A2B6}" dt="2019-08-19T19:50:19.052" v="2093" actId="108"/>
        <pc:sldMkLst>
          <pc:docMk/>
          <pc:sldMk cId="221202047" sldId="1558"/>
        </pc:sldMkLst>
        <pc:spChg chg="mod">
          <ac:chgData name="Peter De Tender" userId="b54b6209-5f27-411f-8c6b-6b5d6b548771" providerId="ADAL" clId="{1B7215C0-E1B8-49BE-B5AA-DE611573A2B6}" dt="2019-08-19T19:49:42.499" v="2090" actId="255"/>
          <ac:spMkLst>
            <pc:docMk/>
            <pc:sldMk cId="221202047" sldId="1558"/>
            <ac:spMk id="14" creationId="{52BFE6EA-E576-464E-A1EA-B6E68F6A85C1}"/>
          </ac:spMkLst>
        </pc:spChg>
        <pc:spChg chg="mod">
          <ac:chgData name="Peter De Tender" userId="b54b6209-5f27-411f-8c6b-6b5d6b548771" providerId="ADAL" clId="{1B7215C0-E1B8-49BE-B5AA-DE611573A2B6}" dt="2019-08-19T19:50:19.052" v="2093" actId="108"/>
          <ac:spMkLst>
            <pc:docMk/>
            <pc:sldMk cId="221202047" sldId="1558"/>
            <ac:spMk id="16" creationId="{BC2ADCC3-AC77-4533-B916-B20B3A2C8CF1}"/>
          </ac:spMkLst>
        </pc:spChg>
      </pc:sldChg>
      <pc:sldChg chg="modSp">
        <pc:chgData name="Peter De Tender" userId="b54b6209-5f27-411f-8c6b-6b5d6b548771" providerId="ADAL" clId="{1B7215C0-E1B8-49BE-B5AA-DE611573A2B6}" dt="2019-08-19T19:49:22.642" v="2089" actId="108"/>
        <pc:sldMkLst>
          <pc:docMk/>
          <pc:sldMk cId="2919390656" sldId="1561"/>
        </pc:sldMkLst>
        <pc:spChg chg="mod">
          <ac:chgData name="Peter De Tender" userId="b54b6209-5f27-411f-8c6b-6b5d6b548771" providerId="ADAL" clId="{1B7215C0-E1B8-49BE-B5AA-DE611573A2B6}" dt="2019-08-19T19:48:59.618" v="2085" actId="255"/>
          <ac:spMkLst>
            <pc:docMk/>
            <pc:sldMk cId="2919390656" sldId="1561"/>
            <ac:spMk id="14" creationId="{52BFE6EA-E576-464E-A1EA-B6E68F6A85C1}"/>
          </ac:spMkLst>
        </pc:spChg>
        <pc:spChg chg="mod">
          <ac:chgData name="Peter De Tender" userId="b54b6209-5f27-411f-8c6b-6b5d6b548771" providerId="ADAL" clId="{1B7215C0-E1B8-49BE-B5AA-DE611573A2B6}" dt="2019-08-19T19:49:22.642" v="2089" actId="108"/>
          <ac:spMkLst>
            <pc:docMk/>
            <pc:sldMk cId="2919390656" sldId="1561"/>
            <ac:spMk id="16" creationId="{BC2ADCC3-AC77-4533-B916-B20B3A2C8CF1}"/>
          </ac:spMkLst>
        </pc:spChg>
      </pc:sldChg>
      <pc:sldChg chg="modSp">
        <pc:chgData name="Peter De Tender" userId="b54b6209-5f27-411f-8c6b-6b5d6b548771" providerId="ADAL" clId="{1B7215C0-E1B8-49BE-B5AA-DE611573A2B6}" dt="2019-08-19T20:28:24.684" v="2345" actId="20577"/>
        <pc:sldMkLst>
          <pc:docMk/>
          <pc:sldMk cId="164638508" sldId="1881"/>
        </pc:sldMkLst>
        <pc:spChg chg="mod">
          <ac:chgData name="Peter De Tender" userId="b54b6209-5f27-411f-8c6b-6b5d6b548771" providerId="ADAL" clId="{1B7215C0-E1B8-49BE-B5AA-DE611573A2B6}" dt="2019-08-19T20:28:24.684" v="2345" actId="20577"/>
          <ac:spMkLst>
            <pc:docMk/>
            <pc:sldMk cId="164638508" sldId="1881"/>
            <ac:spMk id="4" creationId="{0CD8665D-5A50-4F07-9D33-48CCD3FD74C7}"/>
          </ac:spMkLst>
        </pc:spChg>
      </pc:sldChg>
      <pc:sldChg chg="modSp">
        <pc:chgData name="Peter De Tender" userId="b54b6209-5f27-411f-8c6b-6b5d6b548771" providerId="ADAL" clId="{1B7215C0-E1B8-49BE-B5AA-DE611573A2B6}" dt="2019-08-19T20:00:28.406" v="2132" actId="404"/>
        <pc:sldMkLst>
          <pc:docMk/>
          <pc:sldMk cId="2655976946" sldId="1883"/>
        </pc:sldMkLst>
        <pc:spChg chg="mod">
          <ac:chgData name="Peter De Tender" userId="b54b6209-5f27-411f-8c6b-6b5d6b548771" providerId="ADAL" clId="{1B7215C0-E1B8-49BE-B5AA-DE611573A2B6}" dt="2019-08-19T20:00:28.406" v="2132" actId="404"/>
          <ac:spMkLst>
            <pc:docMk/>
            <pc:sldMk cId="2655976946" sldId="1883"/>
            <ac:spMk id="2" creationId="{4644BBF3-F5F7-4B2C-A3FD-193FA7CF0E41}"/>
          </ac:spMkLst>
        </pc:spChg>
        <pc:picChg chg="mod">
          <ac:chgData name="Peter De Tender" userId="b54b6209-5f27-411f-8c6b-6b5d6b548771" providerId="ADAL" clId="{1B7215C0-E1B8-49BE-B5AA-DE611573A2B6}" dt="2019-08-19T19:57:08.573" v="2109" actId="1076"/>
          <ac:picMkLst>
            <pc:docMk/>
            <pc:sldMk cId="2655976946" sldId="1883"/>
            <ac:picMk id="7" creationId="{AF693148-3267-4491-BBF0-490DF441DB79}"/>
          </ac:picMkLst>
        </pc:picChg>
      </pc:sldChg>
      <pc:sldChg chg="modSp">
        <pc:chgData name="Peter De Tender" userId="b54b6209-5f27-411f-8c6b-6b5d6b548771" providerId="ADAL" clId="{1B7215C0-E1B8-49BE-B5AA-DE611573A2B6}" dt="2019-08-19T19:59:16.944" v="2128" actId="207"/>
        <pc:sldMkLst>
          <pc:docMk/>
          <pc:sldMk cId="800566328" sldId="1884"/>
        </pc:sldMkLst>
        <pc:spChg chg="mod">
          <ac:chgData name="Peter De Tender" userId="b54b6209-5f27-411f-8c6b-6b5d6b548771" providerId="ADAL" clId="{1B7215C0-E1B8-49BE-B5AA-DE611573A2B6}" dt="2019-08-19T19:59:16.944" v="2128" actId="207"/>
          <ac:spMkLst>
            <pc:docMk/>
            <pc:sldMk cId="800566328" sldId="1884"/>
            <ac:spMk id="6" creationId="{00000000-0000-0000-0000-000000000000}"/>
          </ac:spMkLst>
        </pc:spChg>
      </pc:sldChg>
      <pc:sldChg chg="addSp delSp modSp">
        <pc:chgData name="Peter De Tender" userId="b54b6209-5f27-411f-8c6b-6b5d6b548771" providerId="ADAL" clId="{1B7215C0-E1B8-49BE-B5AA-DE611573A2B6}" dt="2019-08-19T20:00:39.235" v="2134" actId="14100"/>
        <pc:sldMkLst>
          <pc:docMk/>
          <pc:sldMk cId="4202145536" sldId="1957"/>
        </pc:sldMkLst>
        <pc:spChg chg="mod">
          <ac:chgData name="Peter De Tender" userId="b54b6209-5f27-411f-8c6b-6b5d6b548771" providerId="ADAL" clId="{1B7215C0-E1B8-49BE-B5AA-DE611573A2B6}" dt="2019-08-19T20:00:39.235" v="2134" actId="14100"/>
          <ac:spMkLst>
            <pc:docMk/>
            <pc:sldMk cId="4202145536" sldId="1957"/>
            <ac:spMk id="3" creationId="{ACDEC2A6-200D-4362-8552-ECCB9CE9C4C7}"/>
          </ac:spMkLst>
        </pc:spChg>
        <pc:picChg chg="add mod">
          <ac:chgData name="Peter De Tender" userId="b54b6209-5f27-411f-8c6b-6b5d6b548771" providerId="ADAL" clId="{1B7215C0-E1B8-49BE-B5AA-DE611573A2B6}" dt="2019-08-19T19:56:55.892" v="2108" actId="1076"/>
          <ac:picMkLst>
            <pc:docMk/>
            <pc:sldMk cId="4202145536" sldId="1957"/>
            <ac:picMk id="2" creationId="{AE18EA3F-E2E9-4B71-97CF-1D4B3B3FE2CD}"/>
          </ac:picMkLst>
        </pc:picChg>
        <pc:picChg chg="del mod">
          <ac:chgData name="Peter De Tender" userId="b54b6209-5f27-411f-8c6b-6b5d6b548771" providerId="ADAL" clId="{1B7215C0-E1B8-49BE-B5AA-DE611573A2B6}" dt="2019-08-19T19:56:18.790" v="2100" actId="478"/>
          <ac:picMkLst>
            <pc:docMk/>
            <pc:sldMk cId="4202145536" sldId="1957"/>
            <ac:picMk id="9" creationId="{7EA3AEF1-9B8D-4775-9B25-4EC3AC1A4E86}"/>
          </ac:picMkLst>
        </pc:picChg>
      </pc:sldChg>
      <pc:sldChg chg="modSp">
        <pc:chgData name="Peter De Tender" userId="b54b6209-5f27-411f-8c6b-6b5d6b548771" providerId="ADAL" clId="{1B7215C0-E1B8-49BE-B5AA-DE611573A2B6}" dt="2019-08-19T20:02:03.915" v="2167" actId="6549"/>
        <pc:sldMkLst>
          <pc:docMk/>
          <pc:sldMk cId="916306651" sldId="1958"/>
        </pc:sldMkLst>
        <pc:spChg chg="mod">
          <ac:chgData name="Peter De Tender" userId="b54b6209-5f27-411f-8c6b-6b5d6b548771" providerId="ADAL" clId="{1B7215C0-E1B8-49BE-B5AA-DE611573A2B6}" dt="2019-08-19T20:02:03.915" v="2167" actId="6549"/>
          <ac:spMkLst>
            <pc:docMk/>
            <pc:sldMk cId="916306651" sldId="1958"/>
            <ac:spMk id="6" creationId="{00000000-0000-0000-0000-000000000000}"/>
          </ac:spMkLst>
        </pc:spChg>
        <pc:picChg chg="mod">
          <ac:chgData name="Peter De Tender" userId="b54b6209-5f27-411f-8c6b-6b5d6b548771" providerId="ADAL" clId="{1B7215C0-E1B8-49BE-B5AA-DE611573A2B6}" dt="2019-08-19T20:00:51.418" v="2135" actId="1076"/>
          <ac:picMkLst>
            <pc:docMk/>
            <pc:sldMk cId="916306651" sldId="1958"/>
            <ac:picMk id="5" creationId="{86A51805-374B-408A-8488-3C07D8AD72A7}"/>
          </ac:picMkLst>
        </pc:picChg>
      </pc:sldChg>
      <pc:sldChg chg="delSp modSp del">
        <pc:chgData name="Peter De Tender" userId="b54b6209-5f27-411f-8c6b-6b5d6b548771" providerId="ADAL" clId="{1B7215C0-E1B8-49BE-B5AA-DE611573A2B6}" dt="2019-08-19T19:35:18.676" v="2042" actId="2696"/>
        <pc:sldMkLst>
          <pc:docMk/>
          <pc:sldMk cId="574907458" sldId="2187"/>
        </pc:sldMkLst>
        <pc:spChg chg="mod">
          <ac:chgData name="Peter De Tender" userId="b54b6209-5f27-411f-8c6b-6b5d6b548771" providerId="ADAL" clId="{1B7215C0-E1B8-49BE-B5AA-DE611573A2B6}" dt="2019-08-19T18:51:53.225" v="597" actId="20577"/>
          <ac:spMkLst>
            <pc:docMk/>
            <pc:sldMk cId="574907458" sldId="2187"/>
            <ac:spMk id="5" creationId="{AEC87026-1C42-42D1-BD73-F554B9EDE5E9}"/>
          </ac:spMkLst>
        </pc:spChg>
        <pc:spChg chg="mod">
          <ac:chgData name="Peter De Tender" userId="b54b6209-5f27-411f-8c6b-6b5d6b548771" providerId="ADAL" clId="{1B7215C0-E1B8-49BE-B5AA-DE611573A2B6}" dt="2019-08-19T18:54:01.399" v="688" actId="20577"/>
          <ac:spMkLst>
            <pc:docMk/>
            <pc:sldMk cId="574907458" sldId="2187"/>
            <ac:spMk id="15" creationId="{00000000-0000-0000-0000-000000000000}"/>
          </ac:spMkLst>
        </pc:spChg>
        <pc:graphicFrameChg chg="del">
          <ac:chgData name="Peter De Tender" userId="b54b6209-5f27-411f-8c6b-6b5d6b548771" providerId="ADAL" clId="{1B7215C0-E1B8-49BE-B5AA-DE611573A2B6}" dt="2019-08-19T18:51:32.498" v="592" actId="478"/>
          <ac:graphicFrameMkLst>
            <pc:docMk/>
            <pc:sldMk cId="574907458" sldId="2187"/>
            <ac:graphicFrameMk id="13" creationId="{52AC65B2-E043-47AE-897D-7F6CBF9ED38C}"/>
          </ac:graphicFrameMkLst>
        </pc:graphicFrameChg>
      </pc:sldChg>
      <pc:sldChg chg="addSp delSp modSp delAnim modAnim">
        <pc:chgData name="Peter De Tender" userId="b54b6209-5f27-411f-8c6b-6b5d6b548771" providerId="ADAL" clId="{1B7215C0-E1B8-49BE-B5AA-DE611573A2B6}" dt="2019-08-19T20:08:38.726" v="2214" actId="5793"/>
        <pc:sldMkLst>
          <pc:docMk/>
          <pc:sldMk cId="4280812144" sldId="2204"/>
        </pc:sldMkLst>
        <pc:spChg chg="add del mod">
          <ac:chgData name="Peter De Tender" userId="b54b6209-5f27-411f-8c6b-6b5d6b548771" providerId="ADAL" clId="{1B7215C0-E1B8-49BE-B5AA-DE611573A2B6}" dt="2019-08-19T20:06:49.155" v="2187" actId="478"/>
          <ac:spMkLst>
            <pc:docMk/>
            <pc:sldMk cId="4280812144" sldId="2204"/>
            <ac:spMk id="3" creationId="{CC5927B0-BDB7-410E-B5E4-E4D0045FDE3C}"/>
          </ac:spMkLst>
        </pc:spChg>
        <pc:spChg chg="mod">
          <ac:chgData name="Peter De Tender" userId="b54b6209-5f27-411f-8c6b-6b5d6b548771" providerId="ADAL" clId="{1B7215C0-E1B8-49BE-B5AA-DE611573A2B6}" dt="2019-08-19T20:07:04.298" v="2190" actId="122"/>
          <ac:spMkLst>
            <pc:docMk/>
            <pc:sldMk cId="4280812144" sldId="2204"/>
            <ac:spMk id="5" creationId="{1A86CFB1-7C5C-43A8-8CD3-D67D1F4EAC27}"/>
          </ac:spMkLst>
        </pc:spChg>
        <pc:spChg chg="mod">
          <ac:chgData name="Peter De Tender" userId="b54b6209-5f27-411f-8c6b-6b5d6b548771" providerId="ADAL" clId="{1B7215C0-E1B8-49BE-B5AA-DE611573A2B6}" dt="2019-08-19T20:07:04.298" v="2190" actId="122"/>
          <ac:spMkLst>
            <pc:docMk/>
            <pc:sldMk cId="4280812144" sldId="2204"/>
            <ac:spMk id="9" creationId="{AAF186A2-8F72-4C97-85B6-74F41BA22942}"/>
          </ac:spMkLst>
        </pc:spChg>
        <pc:spChg chg="mod">
          <ac:chgData name="Peter De Tender" userId="b54b6209-5f27-411f-8c6b-6b5d6b548771" providerId="ADAL" clId="{1B7215C0-E1B8-49BE-B5AA-DE611573A2B6}" dt="2019-08-19T20:08:38.726" v="2214" actId="5793"/>
          <ac:spMkLst>
            <pc:docMk/>
            <pc:sldMk cId="4280812144" sldId="2204"/>
            <ac:spMk id="17" creationId="{04289C34-71C3-4D91-B815-9729406F815C}"/>
          </ac:spMkLst>
        </pc:spChg>
        <pc:spChg chg="mod">
          <ac:chgData name="Peter De Tender" userId="b54b6209-5f27-411f-8c6b-6b5d6b548771" providerId="ADAL" clId="{1B7215C0-E1B8-49BE-B5AA-DE611573A2B6}" dt="2019-08-19T20:07:23.088" v="2194" actId="1076"/>
          <ac:spMkLst>
            <pc:docMk/>
            <pc:sldMk cId="4280812144" sldId="2204"/>
            <ac:spMk id="35" creationId="{05417CD1-0CAA-4D5D-BC0C-DF696FE76B39}"/>
          </ac:spMkLst>
        </pc:spChg>
        <pc:spChg chg="mod">
          <ac:chgData name="Peter De Tender" userId="b54b6209-5f27-411f-8c6b-6b5d6b548771" providerId="ADAL" clId="{1B7215C0-E1B8-49BE-B5AA-DE611573A2B6}" dt="2019-08-19T20:07:28.886" v="2195" actId="1076"/>
          <ac:spMkLst>
            <pc:docMk/>
            <pc:sldMk cId="4280812144" sldId="2204"/>
            <ac:spMk id="36" creationId="{5EB19DF2-C642-4986-A825-1B189E901D18}"/>
          </ac:spMkLst>
        </pc:spChg>
        <pc:spChg chg="mod">
          <ac:chgData name="Peter De Tender" userId="b54b6209-5f27-411f-8c6b-6b5d6b548771" providerId="ADAL" clId="{1B7215C0-E1B8-49BE-B5AA-DE611573A2B6}" dt="2019-08-19T20:07:34.630" v="2196" actId="1076"/>
          <ac:spMkLst>
            <pc:docMk/>
            <pc:sldMk cId="4280812144" sldId="2204"/>
            <ac:spMk id="37" creationId="{D5F85A02-87C3-4281-99EC-2A69DC649DBA}"/>
          </ac:spMkLst>
        </pc:spChg>
        <pc:grpChg chg="mod">
          <ac:chgData name="Peter De Tender" userId="b54b6209-5f27-411f-8c6b-6b5d6b548771" providerId="ADAL" clId="{1B7215C0-E1B8-49BE-B5AA-DE611573A2B6}" dt="2019-08-19T20:07:04.298" v="2190" actId="122"/>
          <ac:grpSpMkLst>
            <pc:docMk/>
            <pc:sldMk cId="4280812144" sldId="2204"/>
            <ac:grpSpMk id="14" creationId="{F72CDA3C-40A3-4D3D-AEBD-567D108ACE01}"/>
          </ac:grpSpMkLst>
        </pc:grpChg>
        <pc:cxnChg chg="add mod">
          <ac:chgData name="Peter De Tender" userId="b54b6209-5f27-411f-8c6b-6b5d6b548771" providerId="ADAL" clId="{1B7215C0-E1B8-49BE-B5AA-DE611573A2B6}" dt="2019-08-19T20:07:59.063" v="2203" actId="1076"/>
          <ac:cxnSpMkLst>
            <pc:docMk/>
            <pc:sldMk cId="4280812144" sldId="2204"/>
            <ac:cxnSpMk id="18" creationId="{EE93082E-CA1C-4002-B920-5A9533402F3C}"/>
          </ac:cxnSpMkLst>
        </pc:cxnChg>
        <pc:cxnChg chg="add mod">
          <ac:chgData name="Peter De Tender" userId="b54b6209-5f27-411f-8c6b-6b5d6b548771" providerId="ADAL" clId="{1B7215C0-E1B8-49BE-B5AA-DE611573A2B6}" dt="2019-08-19T20:08:07.561" v="2205" actId="1076"/>
          <ac:cxnSpMkLst>
            <pc:docMk/>
            <pc:sldMk cId="4280812144" sldId="2204"/>
            <ac:cxnSpMk id="19" creationId="{1532C56B-7677-4598-B42D-93DA0D01220C}"/>
          </ac:cxnSpMkLst>
        </pc:cxnChg>
        <pc:cxnChg chg="mod">
          <ac:chgData name="Peter De Tender" userId="b54b6209-5f27-411f-8c6b-6b5d6b548771" providerId="ADAL" clId="{1B7215C0-E1B8-49BE-B5AA-DE611573A2B6}" dt="2019-08-19T20:07:46.973" v="2199" actId="14100"/>
          <ac:cxnSpMkLst>
            <pc:docMk/>
            <pc:sldMk cId="4280812144" sldId="2204"/>
            <ac:cxnSpMk id="32" creationId="{01BA1F12-AA92-4A72-9B18-FC9EF8857717}"/>
          </ac:cxnSpMkLst>
        </pc:cxnChg>
        <pc:cxnChg chg="del mod">
          <ac:chgData name="Peter De Tender" userId="b54b6209-5f27-411f-8c6b-6b5d6b548771" providerId="ADAL" clId="{1B7215C0-E1B8-49BE-B5AA-DE611573A2B6}" dt="2019-08-19T20:07:49.580" v="2200" actId="478"/>
          <ac:cxnSpMkLst>
            <pc:docMk/>
            <pc:sldMk cId="4280812144" sldId="2204"/>
            <ac:cxnSpMk id="33" creationId="{D27B72C2-05B7-43BF-B963-D6905F8440D1}"/>
          </ac:cxnSpMkLst>
        </pc:cxnChg>
        <pc:cxnChg chg="del mod">
          <ac:chgData name="Peter De Tender" userId="b54b6209-5f27-411f-8c6b-6b5d6b548771" providerId="ADAL" clId="{1B7215C0-E1B8-49BE-B5AA-DE611573A2B6}" dt="2019-08-19T20:07:51.483" v="2201" actId="478"/>
          <ac:cxnSpMkLst>
            <pc:docMk/>
            <pc:sldMk cId="4280812144" sldId="2204"/>
            <ac:cxnSpMk id="34" creationId="{35F02736-B46F-4DB5-9269-D3FA0FA80F59}"/>
          </ac:cxnSpMkLst>
        </pc:cxnChg>
      </pc:sldChg>
      <pc:sldChg chg="addSp delSp modSp">
        <pc:chgData name="Peter De Tender" userId="b54b6209-5f27-411f-8c6b-6b5d6b548771" providerId="ADAL" clId="{1B7215C0-E1B8-49BE-B5AA-DE611573A2B6}" dt="2019-08-19T20:25:02.062" v="2323" actId="208"/>
        <pc:sldMkLst>
          <pc:docMk/>
          <pc:sldMk cId="2939504849" sldId="2237"/>
        </pc:sldMkLst>
        <pc:spChg chg="add del mod">
          <ac:chgData name="Peter De Tender" userId="b54b6209-5f27-411f-8c6b-6b5d6b548771" providerId="ADAL" clId="{1B7215C0-E1B8-49BE-B5AA-DE611573A2B6}" dt="2019-08-19T20:24:38.920" v="2316" actId="11529"/>
          <ac:spMkLst>
            <pc:docMk/>
            <pc:sldMk cId="2939504849" sldId="2237"/>
            <ac:spMk id="3" creationId="{D94954AB-49BB-4073-B04D-A7BFDFFA4427}"/>
          </ac:spMkLst>
        </pc:spChg>
        <pc:spChg chg="add mod">
          <ac:chgData name="Peter De Tender" userId="b54b6209-5f27-411f-8c6b-6b5d6b548771" providerId="ADAL" clId="{1B7215C0-E1B8-49BE-B5AA-DE611573A2B6}" dt="2019-08-19T20:25:02.062" v="2323" actId="208"/>
          <ac:spMkLst>
            <pc:docMk/>
            <pc:sldMk cId="2939504849" sldId="2237"/>
            <ac:spMk id="7" creationId="{4C35C5EB-77EB-4CF0-B592-1D5B01F151F3}"/>
          </ac:spMkLst>
        </pc:spChg>
        <pc:spChg chg="mod">
          <ac:chgData name="Peter De Tender" userId="b54b6209-5f27-411f-8c6b-6b5d6b548771" providerId="ADAL" clId="{1B7215C0-E1B8-49BE-B5AA-DE611573A2B6}" dt="2019-08-19T20:14:18.225" v="2259" actId="255"/>
          <ac:spMkLst>
            <pc:docMk/>
            <pc:sldMk cId="2939504849" sldId="2237"/>
            <ac:spMk id="12" creationId="{5A181E50-187B-4CC0-8CF0-F88799ED1395}"/>
          </ac:spMkLst>
        </pc:spChg>
        <pc:spChg chg="mod">
          <ac:chgData name="Peter De Tender" userId="b54b6209-5f27-411f-8c6b-6b5d6b548771" providerId="ADAL" clId="{1B7215C0-E1B8-49BE-B5AA-DE611573A2B6}" dt="2019-08-19T20:24:41.248" v="2319" actId="208"/>
          <ac:spMkLst>
            <pc:docMk/>
            <pc:sldMk cId="2939504849" sldId="2237"/>
            <ac:spMk id="38" creationId="{0218B77A-7562-4E5C-A26F-25A46435112C}"/>
          </ac:spMkLst>
        </pc:spChg>
        <pc:spChg chg="mod">
          <ac:chgData name="Peter De Tender" userId="b54b6209-5f27-411f-8c6b-6b5d6b548771" providerId="ADAL" clId="{1B7215C0-E1B8-49BE-B5AA-DE611573A2B6}" dt="2019-08-19T20:24:41.248" v="2319" actId="208"/>
          <ac:spMkLst>
            <pc:docMk/>
            <pc:sldMk cId="2939504849" sldId="2237"/>
            <ac:spMk id="40" creationId="{859935E2-CA6E-4FC8-901B-5731161DEBE2}"/>
          </ac:spMkLst>
        </pc:spChg>
        <pc:spChg chg="mod">
          <ac:chgData name="Peter De Tender" userId="b54b6209-5f27-411f-8c6b-6b5d6b548771" providerId="ADAL" clId="{1B7215C0-E1B8-49BE-B5AA-DE611573A2B6}" dt="2019-08-19T20:24:41.248" v="2319" actId="208"/>
          <ac:spMkLst>
            <pc:docMk/>
            <pc:sldMk cId="2939504849" sldId="2237"/>
            <ac:spMk id="41" creationId="{D016EAAB-971A-4E47-845D-F52F95000239}"/>
          </ac:spMkLst>
        </pc:spChg>
        <pc:spChg chg="mod">
          <ac:chgData name="Peter De Tender" userId="b54b6209-5f27-411f-8c6b-6b5d6b548771" providerId="ADAL" clId="{1B7215C0-E1B8-49BE-B5AA-DE611573A2B6}" dt="2019-08-19T20:24:41.248" v="2319" actId="208"/>
          <ac:spMkLst>
            <pc:docMk/>
            <pc:sldMk cId="2939504849" sldId="2237"/>
            <ac:spMk id="44" creationId="{58BCA36A-C6F3-4F9D-B9C2-AFA0299B7D8F}"/>
          </ac:spMkLst>
        </pc:spChg>
        <pc:spChg chg="mod">
          <ac:chgData name="Peter De Tender" userId="b54b6209-5f27-411f-8c6b-6b5d6b548771" providerId="ADAL" clId="{1B7215C0-E1B8-49BE-B5AA-DE611573A2B6}" dt="2019-08-19T20:24:41.248" v="2319" actId="208"/>
          <ac:spMkLst>
            <pc:docMk/>
            <pc:sldMk cId="2939504849" sldId="2237"/>
            <ac:spMk id="46" creationId="{3DE84DC4-7B41-46A5-BB18-2CF33A62A2DF}"/>
          </ac:spMkLst>
        </pc:spChg>
        <pc:spChg chg="mod">
          <ac:chgData name="Peter De Tender" userId="b54b6209-5f27-411f-8c6b-6b5d6b548771" providerId="ADAL" clId="{1B7215C0-E1B8-49BE-B5AA-DE611573A2B6}" dt="2019-08-19T20:24:41.248" v="2319" actId="208"/>
          <ac:spMkLst>
            <pc:docMk/>
            <pc:sldMk cId="2939504849" sldId="2237"/>
            <ac:spMk id="47" creationId="{1DBB0596-4D8E-459D-A1EE-C4D0ABFBC350}"/>
          </ac:spMkLst>
        </pc:spChg>
        <pc:spChg chg="mod">
          <ac:chgData name="Peter De Tender" userId="b54b6209-5f27-411f-8c6b-6b5d6b548771" providerId="ADAL" clId="{1B7215C0-E1B8-49BE-B5AA-DE611573A2B6}" dt="2019-08-19T20:24:41.248" v="2319" actId="208"/>
          <ac:spMkLst>
            <pc:docMk/>
            <pc:sldMk cId="2939504849" sldId="2237"/>
            <ac:spMk id="48" creationId="{BCBC3519-76F0-4B9C-87FA-A1C1444C2958}"/>
          </ac:spMkLst>
        </pc:spChg>
        <pc:spChg chg="mod">
          <ac:chgData name="Peter De Tender" userId="b54b6209-5f27-411f-8c6b-6b5d6b548771" providerId="ADAL" clId="{1B7215C0-E1B8-49BE-B5AA-DE611573A2B6}" dt="2019-08-19T20:24:41.248" v="2319" actId="208"/>
          <ac:spMkLst>
            <pc:docMk/>
            <pc:sldMk cId="2939504849" sldId="2237"/>
            <ac:spMk id="50" creationId="{765BDB65-C8C7-4324-98F0-8CA1E3680AFD}"/>
          </ac:spMkLst>
        </pc:spChg>
        <pc:spChg chg="mod">
          <ac:chgData name="Peter De Tender" userId="b54b6209-5f27-411f-8c6b-6b5d6b548771" providerId="ADAL" clId="{1B7215C0-E1B8-49BE-B5AA-DE611573A2B6}" dt="2019-08-19T20:24:41.248" v="2319" actId="208"/>
          <ac:spMkLst>
            <pc:docMk/>
            <pc:sldMk cId="2939504849" sldId="2237"/>
            <ac:spMk id="51" creationId="{FC988526-2733-4AF0-8EA5-8A81FB0B7848}"/>
          </ac:spMkLst>
        </pc:spChg>
        <pc:spChg chg="mod">
          <ac:chgData name="Peter De Tender" userId="b54b6209-5f27-411f-8c6b-6b5d6b548771" providerId="ADAL" clId="{1B7215C0-E1B8-49BE-B5AA-DE611573A2B6}" dt="2019-08-19T20:24:41.248" v="2319" actId="208"/>
          <ac:spMkLst>
            <pc:docMk/>
            <pc:sldMk cId="2939504849" sldId="2237"/>
            <ac:spMk id="53" creationId="{FF8F0A52-2ED4-4D2D-BFED-25C4C478A710}"/>
          </ac:spMkLst>
        </pc:spChg>
        <pc:spChg chg="mod">
          <ac:chgData name="Peter De Tender" userId="b54b6209-5f27-411f-8c6b-6b5d6b548771" providerId="ADAL" clId="{1B7215C0-E1B8-49BE-B5AA-DE611573A2B6}" dt="2019-08-19T20:24:41.248" v="2319" actId="208"/>
          <ac:spMkLst>
            <pc:docMk/>
            <pc:sldMk cId="2939504849" sldId="2237"/>
            <ac:spMk id="56" creationId="{B036FA4C-D57F-4500-800C-9972597820D6}"/>
          </ac:spMkLst>
        </pc:spChg>
        <pc:spChg chg="mod">
          <ac:chgData name="Peter De Tender" userId="b54b6209-5f27-411f-8c6b-6b5d6b548771" providerId="ADAL" clId="{1B7215C0-E1B8-49BE-B5AA-DE611573A2B6}" dt="2019-08-19T20:24:41.248" v="2319" actId="208"/>
          <ac:spMkLst>
            <pc:docMk/>
            <pc:sldMk cId="2939504849" sldId="2237"/>
            <ac:spMk id="57" creationId="{CB2E82CD-3A74-490E-A3D8-F0194F88005A}"/>
          </ac:spMkLst>
        </pc:spChg>
        <pc:spChg chg="mod">
          <ac:chgData name="Peter De Tender" userId="b54b6209-5f27-411f-8c6b-6b5d6b548771" providerId="ADAL" clId="{1B7215C0-E1B8-49BE-B5AA-DE611573A2B6}" dt="2019-08-19T20:24:41.248" v="2319" actId="208"/>
          <ac:spMkLst>
            <pc:docMk/>
            <pc:sldMk cId="2939504849" sldId="2237"/>
            <ac:spMk id="59" creationId="{22B70E63-F851-4EE7-8F23-DD8FD7C9238C}"/>
          </ac:spMkLst>
        </pc:spChg>
        <pc:spChg chg="mod">
          <ac:chgData name="Peter De Tender" userId="b54b6209-5f27-411f-8c6b-6b5d6b548771" providerId="ADAL" clId="{1B7215C0-E1B8-49BE-B5AA-DE611573A2B6}" dt="2019-08-19T20:24:41.248" v="2319" actId="208"/>
          <ac:spMkLst>
            <pc:docMk/>
            <pc:sldMk cId="2939504849" sldId="2237"/>
            <ac:spMk id="60" creationId="{8A6E20D0-80F3-4E20-9AA0-8F8A92AF69CB}"/>
          </ac:spMkLst>
        </pc:spChg>
        <pc:spChg chg="mod">
          <ac:chgData name="Peter De Tender" userId="b54b6209-5f27-411f-8c6b-6b5d6b548771" providerId="ADAL" clId="{1B7215C0-E1B8-49BE-B5AA-DE611573A2B6}" dt="2019-08-19T20:24:41.248" v="2319" actId="208"/>
          <ac:spMkLst>
            <pc:docMk/>
            <pc:sldMk cId="2939504849" sldId="2237"/>
            <ac:spMk id="62" creationId="{9B01308B-FDFE-47FA-9F82-F84EFE2460EA}"/>
          </ac:spMkLst>
        </pc:spChg>
        <pc:spChg chg="mod">
          <ac:chgData name="Peter De Tender" userId="b54b6209-5f27-411f-8c6b-6b5d6b548771" providerId="ADAL" clId="{1B7215C0-E1B8-49BE-B5AA-DE611573A2B6}" dt="2019-08-19T20:24:41.248" v="2319" actId="208"/>
          <ac:spMkLst>
            <pc:docMk/>
            <pc:sldMk cId="2939504849" sldId="2237"/>
            <ac:spMk id="67" creationId="{27C431E3-45C0-4664-9DC1-64D2CE563C45}"/>
          </ac:spMkLst>
        </pc:spChg>
        <pc:spChg chg="mod">
          <ac:chgData name="Peter De Tender" userId="b54b6209-5f27-411f-8c6b-6b5d6b548771" providerId="ADAL" clId="{1B7215C0-E1B8-49BE-B5AA-DE611573A2B6}" dt="2019-08-19T20:24:41.248" v="2319" actId="208"/>
          <ac:spMkLst>
            <pc:docMk/>
            <pc:sldMk cId="2939504849" sldId="2237"/>
            <ac:spMk id="70" creationId="{5782A5B2-B029-4677-973A-F7C8359396A9}"/>
          </ac:spMkLst>
        </pc:spChg>
        <pc:spChg chg="mod">
          <ac:chgData name="Peter De Tender" userId="b54b6209-5f27-411f-8c6b-6b5d6b548771" providerId="ADAL" clId="{1B7215C0-E1B8-49BE-B5AA-DE611573A2B6}" dt="2019-08-19T20:24:41.248" v="2319" actId="208"/>
          <ac:spMkLst>
            <pc:docMk/>
            <pc:sldMk cId="2939504849" sldId="2237"/>
            <ac:spMk id="73" creationId="{F3C4D888-55B2-4BAD-87E1-717E09F96E9A}"/>
          </ac:spMkLst>
        </pc:spChg>
        <pc:spChg chg="mod">
          <ac:chgData name="Peter De Tender" userId="b54b6209-5f27-411f-8c6b-6b5d6b548771" providerId="ADAL" clId="{1B7215C0-E1B8-49BE-B5AA-DE611573A2B6}" dt="2019-08-19T20:24:41.248" v="2319" actId="208"/>
          <ac:spMkLst>
            <pc:docMk/>
            <pc:sldMk cId="2939504849" sldId="2237"/>
            <ac:spMk id="75" creationId="{F425D9E1-43BF-4F1E-A2D0-B153174C37D2}"/>
          </ac:spMkLst>
        </pc:spChg>
        <pc:spChg chg="mod">
          <ac:chgData name="Peter De Tender" userId="b54b6209-5f27-411f-8c6b-6b5d6b548771" providerId="ADAL" clId="{1B7215C0-E1B8-49BE-B5AA-DE611573A2B6}" dt="2019-08-19T20:24:41.248" v="2319" actId="208"/>
          <ac:spMkLst>
            <pc:docMk/>
            <pc:sldMk cId="2939504849" sldId="2237"/>
            <ac:spMk id="76" creationId="{F753D573-9843-480C-AB40-1D281AECAD55}"/>
          </ac:spMkLst>
        </pc:spChg>
        <pc:spChg chg="mod">
          <ac:chgData name="Peter De Tender" userId="b54b6209-5f27-411f-8c6b-6b5d6b548771" providerId="ADAL" clId="{1B7215C0-E1B8-49BE-B5AA-DE611573A2B6}" dt="2019-08-19T20:24:41.248" v="2319" actId="208"/>
          <ac:spMkLst>
            <pc:docMk/>
            <pc:sldMk cId="2939504849" sldId="2237"/>
            <ac:spMk id="81" creationId="{5B8C65CD-B349-4B13-AD8E-EF975AAD0CD5}"/>
          </ac:spMkLst>
        </pc:spChg>
        <pc:spChg chg="mod">
          <ac:chgData name="Peter De Tender" userId="b54b6209-5f27-411f-8c6b-6b5d6b548771" providerId="ADAL" clId="{1B7215C0-E1B8-49BE-B5AA-DE611573A2B6}" dt="2019-08-19T20:24:41.248" v="2319" actId="208"/>
          <ac:spMkLst>
            <pc:docMk/>
            <pc:sldMk cId="2939504849" sldId="2237"/>
            <ac:spMk id="82" creationId="{AB1C35E4-7C0E-42B0-895A-D126719FFA54}"/>
          </ac:spMkLst>
        </pc:spChg>
        <pc:spChg chg="mod">
          <ac:chgData name="Peter De Tender" userId="b54b6209-5f27-411f-8c6b-6b5d6b548771" providerId="ADAL" clId="{1B7215C0-E1B8-49BE-B5AA-DE611573A2B6}" dt="2019-08-19T20:24:41.248" v="2319" actId="208"/>
          <ac:spMkLst>
            <pc:docMk/>
            <pc:sldMk cId="2939504849" sldId="2237"/>
            <ac:spMk id="85" creationId="{65A33B52-C49C-4061-8237-C4DF20C584BA}"/>
          </ac:spMkLst>
        </pc:spChg>
        <pc:spChg chg="mod">
          <ac:chgData name="Peter De Tender" userId="b54b6209-5f27-411f-8c6b-6b5d6b548771" providerId="ADAL" clId="{1B7215C0-E1B8-49BE-B5AA-DE611573A2B6}" dt="2019-08-19T20:24:41.248" v="2319" actId="208"/>
          <ac:spMkLst>
            <pc:docMk/>
            <pc:sldMk cId="2939504849" sldId="2237"/>
            <ac:spMk id="86" creationId="{2415DACD-7CD4-4BFC-889A-B8E17D23ADA0}"/>
          </ac:spMkLst>
        </pc:spChg>
        <pc:spChg chg="mod">
          <ac:chgData name="Peter De Tender" userId="b54b6209-5f27-411f-8c6b-6b5d6b548771" providerId="ADAL" clId="{1B7215C0-E1B8-49BE-B5AA-DE611573A2B6}" dt="2019-08-19T20:24:41.248" v="2319" actId="208"/>
          <ac:spMkLst>
            <pc:docMk/>
            <pc:sldMk cId="2939504849" sldId="2237"/>
            <ac:spMk id="87" creationId="{E77A0E0D-C4C7-41CA-A9E8-1FD859F6D5E2}"/>
          </ac:spMkLst>
        </pc:spChg>
        <pc:spChg chg="mod">
          <ac:chgData name="Peter De Tender" userId="b54b6209-5f27-411f-8c6b-6b5d6b548771" providerId="ADAL" clId="{1B7215C0-E1B8-49BE-B5AA-DE611573A2B6}" dt="2019-08-19T20:24:41.248" v="2319" actId="208"/>
          <ac:spMkLst>
            <pc:docMk/>
            <pc:sldMk cId="2939504849" sldId="2237"/>
            <ac:spMk id="88" creationId="{71CF8D0B-E144-4314-ABDE-44666560A9D3}"/>
          </ac:spMkLst>
        </pc:spChg>
        <pc:spChg chg="mod">
          <ac:chgData name="Peter De Tender" userId="b54b6209-5f27-411f-8c6b-6b5d6b548771" providerId="ADAL" clId="{1B7215C0-E1B8-49BE-B5AA-DE611573A2B6}" dt="2019-08-19T20:24:41.248" v="2319" actId="208"/>
          <ac:spMkLst>
            <pc:docMk/>
            <pc:sldMk cId="2939504849" sldId="2237"/>
            <ac:spMk id="89" creationId="{BC16EF96-5F61-4D14-B739-24C134B72AD6}"/>
          </ac:spMkLst>
        </pc:spChg>
        <pc:spChg chg="mod">
          <ac:chgData name="Peter De Tender" userId="b54b6209-5f27-411f-8c6b-6b5d6b548771" providerId="ADAL" clId="{1B7215C0-E1B8-49BE-B5AA-DE611573A2B6}" dt="2019-08-19T20:24:41.248" v="2319" actId="208"/>
          <ac:spMkLst>
            <pc:docMk/>
            <pc:sldMk cId="2939504849" sldId="2237"/>
            <ac:spMk id="90" creationId="{BA3273FF-7A7C-4CE3-9977-22F7A2C1DD26}"/>
          </ac:spMkLst>
        </pc:spChg>
        <pc:spChg chg="mod">
          <ac:chgData name="Peter De Tender" userId="b54b6209-5f27-411f-8c6b-6b5d6b548771" providerId="ADAL" clId="{1B7215C0-E1B8-49BE-B5AA-DE611573A2B6}" dt="2019-08-19T20:24:41.248" v="2319" actId="208"/>
          <ac:spMkLst>
            <pc:docMk/>
            <pc:sldMk cId="2939504849" sldId="2237"/>
            <ac:spMk id="92" creationId="{FF7D8C1C-BFD3-48E2-8CE5-963B497E01A0}"/>
          </ac:spMkLst>
        </pc:spChg>
        <pc:spChg chg="mod">
          <ac:chgData name="Peter De Tender" userId="b54b6209-5f27-411f-8c6b-6b5d6b548771" providerId="ADAL" clId="{1B7215C0-E1B8-49BE-B5AA-DE611573A2B6}" dt="2019-08-19T20:24:41.248" v="2319" actId="208"/>
          <ac:spMkLst>
            <pc:docMk/>
            <pc:sldMk cId="2939504849" sldId="2237"/>
            <ac:spMk id="103" creationId="{3E6455FB-B3F1-4D72-B4E8-7F0CCF4FE79F}"/>
          </ac:spMkLst>
        </pc:spChg>
        <pc:spChg chg="mod">
          <ac:chgData name="Peter De Tender" userId="b54b6209-5f27-411f-8c6b-6b5d6b548771" providerId="ADAL" clId="{1B7215C0-E1B8-49BE-B5AA-DE611573A2B6}" dt="2019-08-19T20:24:41.248" v="2319" actId="208"/>
          <ac:spMkLst>
            <pc:docMk/>
            <pc:sldMk cId="2939504849" sldId="2237"/>
            <ac:spMk id="107" creationId="{674F4ABF-15B5-4C0F-958F-13B5DD1C6AD8}"/>
          </ac:spMkLst>
        </pc:spChg>
        <pc:spChg chg="mod">
          <ac:chgData name="Peter De Tender" userId="b54b6209-5f27-411f-8c6b-6b5d6b548771" providerId="ADAL" clId="{1B7215C0-E1B8-49BE-B5AA-DE611573A2B6}" dt="2019-08-19T20:24:41.248" v="2319" actId="208"/>
          <ac:spMkLst>
            <pc:docMk/>
            <pc:sldMk cId="2939504849" sldId="2237"/>
            <ac:spMk id="113" creationId="{BF00AA11-7209-4782-8D72-BAE204B3C427}"/>
          </ac:spMkLst>
        </pc:spChg>
        <pc:spChg chg="mod">
          <ac:chgData name="Peter De Tender" userId="b54b6209-5f27-411f-8c6b-6b5d6b548771" providerId="ADAL" clId="{1B7215C0-E1B8-49BE-B5AA-DE611573A2B6}" dt="2019-08-19T20:24:41.248" v="2319" actId="208"/>
          <ac:spMkLst>
            <pc:docMk/>
            <pc:sldMk cId="2939504849" sldId="2237"/>
            <ac:spMk id="114" creationId="{BE454473-567D-4306-BA89-E67DE531D812}"/>
          </ac:spMkLst>
        </pc:spChg>
        <pc:spChg chg="mod">
          <ac:chgData name="Peter De Tender" userId="b54b6209-5f27-411f-8c6b-6b5d6b548771" providerId="ADAL" clId="{1B7215C0-E1B8-49BE-B5AA-DE611573A2B6}" dt="2019-08-19T20:24:41.248" v="2319" actId="208"/>
          <ac:spMkLst>
            <pc:docMk/>
            <pc:sldMk cId="2939504849" sldId="2237"/>
            <ac:spMk id="115" creationId="{EDB75672-C178-4928-9128-B731394EBB1E}"/>
          </ac:spMkLst>
        </pc:spChg>
        <pc:spChg chg="mod">
          <ac:chgData name="Peter De Tender" userId="b54b6209-5f27-411f-8c6b-6b5d6b548771" providerId="ADAL" clId="{1B7215C0-E1B8-49BE-B5AA-DE611573A2B6}" dt="2019-08-19T20:24:41.248" v="2319" actId="208"/>
          <ac:spMkLst>
            <pc:docMk/>
            <pc:sldMk cId="2939504849" sldId="2237"/>
            <ac:spMk id="116" creationId="{16DABEDB-C694-4FA2-94C6-AF318C5FA659}"/>
          </ac:spMkLst>
        </pc:spChg>
        <pc:spChg chg="mod">
          <ac:chgData name="Peter De Tender" userId="b54b6209-5f27-411f-8c6b-6b5d6b548771" providerId="ADAL" clId="{1B7215C0-E1B8-49BE-B5AA-DE611573A2B6}" dt="2019-08-19T20:24:41.248" v="2319" actId="208"/>
          <ac:spMkLst>
            <pc:docMk/>
            <pc:sldMk cId="2939504849" sldId="2237"/>
            <ac:spMk id="117" creationId="{BF1D8CDD-E0D9-411D-A6BB-5D122213B101}"/>
          </ac:spMkLst>
        </pc:spChg>
        <pc:spChg chg="mod">
          <ac:chgData name="Peter De Tender" userId="b54b6209-5f27-411f-8c6b-6b5d6b548771" providerId="ADAL" clId="{1B7215C0-E1B8-49BE-B5AA-DE611573A2B6}" dt="2019-08-19T20:24:41.248" v="2319" actId="208"/>
          <ac:spMkLst>
            <pc:docMk/>
            <pc:sldMk cId="2939504849" sldId="2237"/>
            <ac:spMk id="119" creationId="{79990126-B141-4278-ACBE-57BDFC759E8A}"/>
          </ac:spMkLst>
        </pc:spChg>
        <pc:spChg chg="mod">
          <ac:chgData name="Peter De Tender" userId="b54b6209-5f27-411f-8c6b-6b5d6b548771" providerId="ADAL" clId="{1B7215C0-E1B8-49BE-B5AA-DE611573A2B6}" dt="2019-08-19T20:24:41.248" v="2319" actId="208"/>
          <ac:spMkLst>
            <pc:docMk/>
            <pc:sldMk cId="2939504849" sldId="2237"/>
            <ac:spMk id="120" creationId="{D37BD02E-8FE0-43C3-8189-243CE8EAB2BA}"/>
          </ac:spMkLst>
        </pc:spChg>
        <pc:spChg chg="mod">
          <ac:chgData name="Peter De Tender" userId="b54b6209-5f27-411f-8c6b-6b5d6b548771" providerId="ADAL" clId="{1B7215C0-E1B8-49BE-B5AA-DE611573A2B6}" dt="2019-08-19T20:24:41.248" v="2319" actId="208"/>
          <ac:spMkLst>
            <pc:docMk/>
            <pc:sldMk cId="2939504849" sldId="2237"/>
            <ac:spMk id="127" creationId="{48CF2CB0-C6CA-4A1C-AEA7-487A0AE8FC6F}"/>
          </ac:spMkLst>
        </pc:spChg>
        <pc:spChg chg="mod">
          <ac:chgData name="Peter De Tender" userId="b54b6209-5f27-411f-8c6b-6b5d6b548771" providerId="ADAL" clId="{1B7215C0-E1B8-49BE-B5AA-DE611573A2B6}" dt="2019-08-19T20:24:41.248" v="2319" actId="208"/>
          <ac:spMkLst>
            <pc:docMk/>
            <pc:sldMk cId="2939504849" sldId="2237"/>
            <ac:spMk id="128" creationId="{8B4E6C8D-ACD0-462E-9897-C7CF2BD21F69}"/>
          </ac:spMkLst>
        </pc:spChg>
        <pc:spChg chg="mod">
          <ac:chgData name="Peter De Tender" userId="b54b6209-5f27-411f-8c6b-6b5d6b548771" providerId="ADAL" clId="{1B7215C0-E1B8-49BE-B5AA-DE611573A2B6}" dt="2019-08-19T20:24:41.248" v="2319" actId="208"/>
          <ac:spMkLst>
            <pc:docMk/>
            <pc:sldMk cId="2939504849" sldId="2237"/>
            <ac:spMk id="129" creationId="{B03968A8-A6AA-44E8-A9BC-694091323BFB}"/>
          </ac:spMkLst>
        </pc:spChg>
        <pc:spChg chg="mod">
          <ac:chgData name="Peter De Tender" userId="b54b6209-5f27-411f-8c6b-6b5d6b548771" providerId="ADAL" clId="{1B7215C0-E1B8-49BE-B5AA-DE611573A2B6}" dt="2019-08-19T20:24:41.248" v="2319" actId="208"/>
          <ac:spMkLst>
            <pc:docMk/>
            <pc:sldMk cId="2939504849" sldId="2237"/>
            <ac:spMk id="130" creationId="{C8F14B1E-AD86-45D1-913D-E9FF80B569DA}"/>
          </ac:spMkLst>
        </pc:spChg>
        <pc:spChg chg="mod">
          <ac:chgData name="Peter De Tender" userId="b54b6209-5f27-411f-8c6b-6b5d6b548771" providerId="ADAL" clId="{1B7215C0-E1B8-49BE-B5AA-DE611573A2B6}" dt="2019-08-19T20:24:41.248" v="2319" actId="208"/>
          <ac:spMkLst>
            <pc:docMk/>
            <pc:sldMk cId="2939504849" sldId="2237"/>
            <ac:spMk id="131" creationId="{8756938E-E91B-43FA-B0D0-F4487D6E004E}"/>
          </ac:spMkLst>
        </pc:spChg>
        <pc:spChg chg="mod">
          <ac:chgData name="Peter De Tender" userId="b54b6209-5f27-411f-8c6b-6b5d6b548771" providerId="ADAL" clId="{1B7215C0-E1B8-49BE-B5AA-DE611573A2B6}" dt="2019-08-19T20:24:41.248" v="2319" actId="208"/>
          <ac:spMkLst>
            <pc:docMk/>
            <pc:sldMk cId="2939504849" sldId="2237"/>
            <ac:spMk id="132" creationId="{7135AA4B-BAAB-40E9-962A-3DC44457F90E}"/>
          </ac:spMkLst>
        </pc:spChg>
        <pc:spChg chg="mod">
          <ac:chgData name="Peter De Tender" userId="b54b6209-5f27-411f-8c6b-6b5d6b548771" providerId="ADAL" clId="{1B7215C0-E1B8-49BE-B5AA-DE611573A2B6}" dt="2019-08-19T20:24:41.248" v="2319" actId="208"/>
          <ac:spMkLst>
            <pc:docMk/>
            <pc:sldMk cId="2939504849" sldId="2237"/>
            <ac:spMk id="133" creationId="{FBEC8CA7-7FDF-451E-AEB3-B9EB8A4DD170}"/>
          </ac:spMkLst>
        </pc:spChg>
        <pc:spChg chg="mod">
          <ac:chgData name="Peter De Tender" userId="b54b6209-5f27-411f-8c6b-6b5d6b548771" providerId="ADAL" clId="{1B7215C0-E1B8-49BE-B5AA-DE611573A2B6}" dt="2019-08-19T20:24:41.248" v="2319" actId="208"/>
          <ac:spMkLst>
            <pc:docMk/>
            <pc:sldMk cId="2939504849" sldId="2237"/>
            <ac:spMk id="134" creationId="{3D0607F6-5209-4C6B-A05F-913348949359}"/>
          </ac:spMkLst>
        </pc:spChg>
        <pc:spChg chg="mod">
          <ac:chgData name="Peter De Tender" userId="b54b6209-5f27-411f-8c6b-6b5d6b548771" providerId="ADAL" clId="{1B7215C0-E1B8-49BE-B5AA-DE611573A2B6}" dt="2019-08-19T20:24:41.248" v="2319" actId="208"/>
          <ac:spMkLst>
            <pc:docMk/>
            <pc:sldMk cId="2939504849" sldId="2237"/>
            <ac:spMk id="135" creationId="{C270AFFF-CAD4-462E-8E24-AA5FF469AD57}"/>
          </ac:spMkLst>
        </pc:spChg>
        <pc:spChg chg="mod">
          <ac:chgData name="Peter De Tender" userId="b54b6209-5f27-411f-8c6b-6b5d6b548771" providerId="ADAL" clId="{1B7215C0-E1B8-49BE-B5AA-DE611573A2B6}" dt="2019-08-19T20:24:41.248" v="2319" actId="208"/>
          <ac:spMkLst>
            <pc:docMk/>
            <pc:sldMk cId="2939504849" sldId="2237"/>
            <ac:spMk id="136" creationId="{EE2E6859-F3D4-4387-9411-84227E36953B}"/>
          </ac:spMkLst>
        </pc:spChg>
        <pc:grpChg chg="mod">
          <ac:chgData name="Peter De Tender" userId="b54b6209-5f27-411f-8c6b-6b5d6b548771" providerId="ADAL" clId="{1B7215C0-E1B8-49BE-B5AA-DE611573A2B6}" dt="2019-08-19T20:24:36.673" v="2314" actId="1076"/>
          <ac:grpSpMkLst>
            <pc:docMk/>
            <pc:sldMk cId="2939504849" sldId="2237"/>
            <ac:grpSpMk id="11" creationId="{C5787F3F-5F2B-4AF6-9254-0E8ECEC94815}"/>
          </ac:grpSpMkLst>
        </pc:grpChg>
        <pc:cxnChg chg="mod">
          <ac:chgData name="Peter De Tender" userId="b54b6209-5f27-411f-8c6b-6b5d6b548771" providerId="ADAL" clId="{1B7215C0-E1B8-49BE-B5AA-DE611573A2B6}" dt="2019-08-19T20:24:41.248" v="2319" actId="208"/>
          <ac:cxnSpMkLst>
            <pc:docMk/>
            <pc:sldMk cId="2939504849" sldId="2237"/>
            <ac:cxnSpMk id="61" creationId="{28E8BE69-6C68-46CF-AD74-2D5B00DC6D36}"/>
          </ac:cxnSpMkLst>
        </pc:cxnChg>
        <pc:cxnChg chg="mod">
          <ac:chgData name="Peter De Tender" userId="b54b6209-5f27-411f-8c6b-6b5d6b548771" providerId="ADAL" clId="{1B7215C0-E1B8-49BE-B5AA-DE611573A2B6}" dt="2019-08-19T20:24:41.248" v="2319" actId="208"/>
          <ac:cxnSpMkLst>
            <pc:docMk/>
            <pc:sldMk cId="2939504849" sldId="2237"/>
            <ac:cxnSpMk id="72" creationId="{FE556F7A-0EE7-4C14-850B-A81A147E35EA}"/>
          </ac:cxnSpMkLst>
        </pc:cxnChg>
        <pc:cxnChg chg="mod">
          <ac:chgData name="Peter De Tender" userId="b54b6209-5f27-411f-8c6b-6b5d6b548771" providerId="ADAL" clId="{1B7215C0-E1B8-49BE-B5AA-DE611573A2B6}" dt="2019-08-19T20:24:41.248" v="2319" actId="208"/>
          <ac:cxnSpMkLst>
            <pc:docMk/>
            <pc:sldMk cId="2939504849" sldId="2237"/>
            <ac:cxnSpMk id="83" creationId="{28ABB7C2-8303-4A2C-B3AD-9CD7FAADC908}"/>
          </ac:cxnSpMkLst>
        </pc:cxnChg>
        <pc:cxnChg chg="mod">
          <ac:chgData name="Peter De Tender" userId="b54b6209-5f27-411f-8c6b-6b5d6b548771" providerId="ADAL" clId="{1B7215C0-E1B8-49BE-B5AA-DE611573A2B6}" dt="2019-08-19T20:24:41.248" v="2319" actId="208"/>
          <ac:cxnSpMkLst>
            <pc:docMk/>
            <pc:sldMk cId="2939504849" sldId="2237"/>
            <ac:cxnSpMk id="84" creationId="{A66B89DC-DBB4-4A63-905F-1E652C37B3E6}"/>
          </ac:cxnSpMkLst>
        </pc:cxnChg>
        <pc:cxnChg chg="mod">
          <ac:chgData name="Peter De Tender" userId="b54b6209-5f27-411f-8c6b-6b5d6b548771" providerId="ADAL" clId="{1B7215C0-E1B8-49BE-B5AA-DE611573A2B6}" dt="2019-08-19T20:24:41.248" v="2319" actId="208"/>
          <ac:cxnSpMkLst>
            <pc:docMk/>
            <pc:sldMk cId="2939504849" sldId="2237"/>
            <ac:cxnSpMk id="108" creationId="{B974FE53-F91C-4E87-BF12-730B996C91A6}"/>
          </ac:cxnSpMkLst>
        </pc:cxnChg>
        <pc:cxnChg chg="mod">
          <ac:chgData name="Peter De Tender" userId="b54b6209-5f27-411f-8c6b-6b5d6b548771" providerId="ADAL" clId="{1B7215C0-E1B8-49BE-B5AA-DE611573A2B6}" dt="2019-08-19T20:24:41.248" v="2319" actId="208"/>
          <ac:cxnSpMkLst>
            <pc:docMk/>
            <pc:sldMk cId="2939504849" sldId="2237"/>
            <ac:cxnSpMk id="109" creationId="{94ADD0AB-2414-460D-A5CC-2FA5870A9961}"/>
          </ac:cxnSpMkLst>
        </pc:cxnChg>
        <pc:cxnChg chg="mod">
          <ac:chgData name="Peter De Tender" userId="b54b6209-5f27-411f-8c6b-6b5d6b548771" providerId="ADAL" clId="{1B7215C0-E1B8-49BE-B5AA-DE611573A2B6}" dt="2019-08-19T20:24:41.248" v="2319" actId="208"/>
          <ac:cxnSpMkLst>
            <pc:docMk/>
            <pc:sldMk cId="2939504849" sldId="2237"/>
            <ac:cxnSpMk id="110" creationId="{99E87FA1-2B06-4748-BA58-26491E0680FD}"/>
          </ac:cxnSpMkLst>
        </pc:cxnChg>
        <pc:cxnChg chg="mod">
          <ac:chgData name="Peter De Tender" userId="b54b6209-5f27-411f-8c6b-6b5d6b548771" providerId="ADAL" clId="{1B7215C0-E1B8-49BE-B5AA-DE611573A2B6}" dt="2019-08-19T20:24:41.248" v="2319" actId="208"/>
          <ac:cxnSpMkLst>
            <pc:docMk/>
            <pc:sldMk cId="2939504849" sldId="2237"/>
            <ac:cxnSpMk id="111" creationId="{CC69AB13-E667-4C4B-B24D-A3EB6F1EBB39}"/>
          </ac:cxnSpMkLst>
        </pc:cxnChg>
        <pc:cxnChg chg="mod">
          <ac:chgData name="Peter De Tender" userId="b54b6209-5f27-411f-8c6b-6b5d6b548771" providerId="ADAL" clId="{1B7215C0-E1B8-49BE-B5AA-DE611573A2B6}" dt="2019-08-19T20:24:41.248" v="2319" actId="208"/>
          <ac:cxnSpMkLst>
            <pc:docMk/>
            <pc:sldMk cId="2939504849" sldId="2237"/>
            <ac:cxnSpMk id="112" creationId="{BE522286-BE9B-4207-AAE0-35FF4696A934}"/>
          </ac:cxnSpMkLst>
        </pc:cxnChg>
        <pc:cxnChg chg="mod">
          <ac:chgData name="Peter De Tender" userId="b54b6209-5f27-411f-8c6b-6b5d6b548771" providerId="ADAL" clId="{1B7215C0-E1B8-49BE-B5AA-DE611573A2B6}" dt="2019-08-19T20:24:41.248" v="2319" actId="208"/>
          <ac:cxnSpMkLst>
            <pc:docMk/>
            <pc:sldMk cId="2939504849" sldId="2237"/>
            <ac:cxnSpMk id="121" creationId="{860904F6-2643-485F-8761-B7BACF72EE8E}"/>
          </ac:cxnSpMkLst>
        </pc:cxnChg>
        <pc:cxnChg chg="mod">
          <ac:chgData name="Peter De Tender" userId="b54b6209-5f27-411f-8c6b-6b5d6b548771" providerId="ADAL" clId="{1B7215C0-E1B8-49BE-B5AA-DE611573A2B6}" dt="2019-08-19T20:24:41.248" v="2319" actId="208"/>
          <ac:cxnSpMkLst>
            <pc:docMk/>
            <pc:sldMk cId="2939504849" sldId="2237"/>
            <ac:cxnSpMk id="122" creationId="{0DABDDF1-BB4A-4F8A-9DE5-058322107D40}"/>
          </ac:cxnSpMkLst>
        </pc:cxnChg>
        <pc:cxnChg chg="mod">
          <ac:chgData name="Peter De Tender" userId="b54b6209-5f27-411f-8c6b-6b5d6b548771" providerId="ADAL" clId="{1B7215C0-E1B8-49BE-B5AA-DE611573A2B6}" dt="2019-08-19T20:24:41.248" v="2319" actId="208"/>
          <ac:cxnSpMkLst>
            <pc:docMk/>
            <pc:sldMk cId="2939504849" sldId="2237"/>
            <ac:cxnSpMk id="123" creationId="{0BC90513-CDF2-422C-A653-69135FA80C23}"/>
          </ac:cxnSpMkLst>
        </pc:cxnChg>
        <pc:cxnChg chg="mod">
          <ac:chgData name="Peter De Tender" userId="b54b6209-5f27-411f-8c6b-6b5d6b548771" providerId="ADAL" clId="{1B7215C0-E1B8-49BE-B5AA-DE611573A2B6}" dt="2019-08-19T20:24:41.248" v="2319" actId="208"/>
          <ac:cxnSpMkLst>
            <pc:docMk/>
            <pc:sldMk cId="2939504849" sldId="2237"/>
            <ac:cxnSpMk id="124" creationId="{959EE230-AB57-4F9F-A665-7300719C41BD}"/>
          </ac:cxnSpMkLst>
        </pc:cxnChg>
        <pc:cxnChg chg="mod">
          <ac:chgData name="Peter De Tender" userId="b54b6209-5f27-411f-8c6b-6b5d6b548771" providerId="ADAL" clId="{1B7215C0-E1B8-49BE-B5AA-DE611573A2B6}" dt="2019-08-19T20:24:41.248" v="2319" actId="208"/>
          <ac:cxnSpMkLst>
            <pc:docMk/>
            <pc:sldMk cId="2939504849" sldId="2237"/>
            <ac:cxnSpMk id="126" creationId="{CB0A31A6-DD61-4B2C-83AD-ABCE3936D561}"/>
          </ac:cxnSpMkLst>
        </pc:cxnChg>
      </pc:sldChg>
      <pc:sldChg chg="addSp delSp modSp modAnim">
        <pc:chgData name="Peter De Tender" userId="b54b6209-5f27-411f-8c6b-6b5d6b548771" providerId="ADAL" clId="{1B7215C0-E1B8-49BE-B5AA-DE611573A2B6}" dt="2019-08-19T20:20:20.015" v="2274" actId="207"/>
        <pc:sldMkLst>
          <pc:docMk/>
          <pc:sldMk cId="1584753744" sldId="2284"/>
        </pc:sldMkLst>
        <pc:spChg chg="mod">
          <ac:chgData name="Peter De Tender" userId="b54b6209-5f27-411f-8c6b-6b5d6b548771" providerId="ADAL" clId="{1B7215C0-E1B8-49BE-B5AA-DE611573A2B6}" dt="2019-08-19T20:14:25.769" v="2260" actId="255"/>
          <ac:spMkLst>
            <pc:docMk/>
            <pc:sldMk cId="1584753744" sldId="2284"/>
            <ac:spMk id="2" creationId="{3323A480-DE30-4640-86CC-A2BAFD76FF65}"/>
          </ac:spMkLst>
        </pc:spChg>
        <pc:spChg chg="mod">
          <ac:chgData name="Peter De Tender" userId="b54b6209-5f27-411f-8c6b-6b5d6b548771" providerId="ADAL" clId="{1B7215C0-E1B8-49BE-B5AA-DE611573A2B6}" dt="2019-08-19T20:20:12.025" v="2272" actId="207"/>
          <ac:spMkLst>
            <pc:docMk/>
            <pc:sldMk cId="1584753744" sldId="2284"/>
            <ac:spMk id="9" creationId="{5CFB550B-50B9-4755-9D76-F4094C4B6298}"/>
          </ac:spMkLst>
        </pc:spChg>
        <pc:spChg chg="mod">
          <ac:chgData name="Peter De Tender" userId="b54b6209-5f27-411f-8c6b-6b5d6b548771" providerId="ADAL" clId="{1B7215C0-E1B8-49BE-B5AA-DE611573A2B6}" dt="2019-08-19T20:20:16.101" v="2273" actId="207"/>
          <ac:spMkLst>
            <pc:docMk/>
            <pc:sldMk cId="1584753744" sldId="2284"/>
            <ac:spMk id="10" creationId="{C7EF2097-8230-42E8-AD94-B91492F70D20}"/>
          </ac:spMkLst>
        </pc:spChg>
        <pc:spChg chg="mod">
          <ac:chgData name="Peter De Tender" userId="b54b6209-5f27-411f-8c6b-6b5d6b548771" providerId="ADAL" clId="{1B7215C0-E1B8-49BE-B5AA-DE611573A2B6}" dt="2019-08-19T20:20:20.015" v="2274" actId="207"/>
          <ac:spMkLst>
            <pc:docMk/>
            <pc:sldMk cId="1584753744" sldId="2284"/>
            <ac:spMk id="11" creationId="{ADB3043A-6F6C-46B9-B506-5D383EE5A214}"/>
          </ac:spMkLst>
        </pc:spChg>
        <pc:spChg chg="del mod topLvl">
          <ac:chgData name="Peter De Tender" userId="b54b6209-5f27-411f-8c6b-6b5d6b548771" providerId="ADAL" clId="{1B7215C0-E1B8-49BE-B5AA-DE611573A2B6}" dt="2019-08-19T20:19:38.114" v="2264" actId="478"/>
          <ac:spMkLst>
            <pc:docMk/>
            <pc:sldMk cId="1584753744" sldId="2284"/>
            <ac:spMk id="26" creationId="{2283B203-CE4C-4AFD-BCE0-1DCB73537846}"/>
          </ac:spMkLst>
        </pc:spChg>
        <pc:spChg chg="del mod topLvl">
          <ac:chgData name="Peter De Tender" userId="b54b6209-5f27-411f-8c6b-6b5d6b548771" providerId="ADAL" clId="{1B7215C0-E1B8-49BE-B5AA-DE611573A2B6}" dt="2019-08-19T20:19:34.965" v="2263" actId="478"/>
          <ac:spMkLst>
            <pc:docMk/>
            <pc:sldMk cId="1584753744" sldId="2284"/>
            <ac:spMk id="29" creationId="{43AE383E-D84B-47CE-85FA-C5A658F2D27B}"/>
          </ac:spMkLst>
        </pc:spChg>
        <pc:grpChg chg="add del">
          <ac:chgData name="Peter De Tender" userId="b54b6209-5f27-411f-8c6b-6b5d6b548771" providerId="ADAL" clId="{1B7215C0-E1B8-49BE-B5AA-DE611573A2B6}" dt="2019-08-19T20:19:32.389" v="2262" actId="165"/>
          <ac:grpSpMkLst>
            <pc:docMk/>
            <pc:sldMk cId="1584753744" sldId="2284"/>
            <ac:grpSpMk id="18" creationId="{E9862F27-87BC-4716-A6A6-38E5F367E4D9}"/>
          </ac:grpSpMkLst>
        </pc:grpChg>
        <pc:grpChg chg="mod">
          <ac:chgData name="Peter De Tender" userId="b54b6209-5f27-411f-8c6b-6b5d6b548771" providerId="ADAL" clId="{1B7215C0-E1B8-49BE-B5AA-DE611573A2B6}" dt="2019-08-19T20:20:03.754" v="2271" actId="1076"/>
          <ac:grpSpMkLst>
            <pc:docMk/>
            <pc:sldMk cId="1584753744" sldId="2284"/>
            <ac:grpSpMk id="21" creationId="{05E86BFF-9D77-4228-BC84-FF7FC140299F}"/>
          </ac:grpSpMkLst>
        </pc:grpChg>
        <pc:grpChg chg="add del">
          <ac:chgData name="Peter De Tender" userId="b54b6209-5f27-411f-8c6b-6b5d6b548771" providerId="ADAL" clId="{1B7215C0-E1B8-49BE-B5AA-DE611573A2B6}" dt="2019-08-19T20:19:32.389" v="2262" actId="165"/>
          <ac:grpSpMkLst>
            <pc:docMk/>
            <pc:sldMk cId="1584753744" sldId="2284"/>
            <ac:grpSpMk id="27" creationId="{E08315B0-5E93-482D-B348-2C5A70D9EBB7}"/>
          </ac:grpSpMkLst>
        </pc:grpChg>
        <pc:picChg chg="del mod topLvl">
          <ac:chgData name="Peter De Tender" userId="b54b6209-5f27-411f-8c6b-6b5d6b548771" providerId="ADAL" clId="{1B7215C0-E1B8-49BE-B5AA-DE611573A2B6}" dt="2019-08-19T20:19:59.502" v="2269" actId="478"/>
          <ac:picMkLst>
            <pc:docMk/>
            <pc:sldMk cId="1584753744" sldId="2284"/>
            <ac:picMk id="24" creationId="{56BC1D77-0E2B-46CF-9FF1-1B75150EF51F}"/>
          </ac:picMkLst>
        </pc:picChg>
        <pc:picChg chg="del mod topLvl">
          <ac:chgData name="Peter De Tender" userId="b54b6209-5f27-411f-8c6b-6b5d6b548771" providerId="ADAL" clId="{1B7215C0-E1B8-49BE-B5AA-DE611573A2B6}" dt="2019-08-19T20:19:34.965" v="2263" actId="478"/>
          <ac:picMkLst>
            <pc:docMk/>
            <pc:sldMk cId="1584753744" sldId="2284"/>
            <ac:picMk id="28" creationId="{D70CAEB8-6AD2-4BC5-966C-584647CB6DD5}"/>
          </ac:picMkLst>
        </pc:picChg>
      </pc:sldChg>
      <pc:sldChg chg="modSp del">
        <pc:chgData name="Peter De Tender" userId="b54b6209-5f27-411f-8c6b-6b5d6b548771" providerId="ADAL" clId="{1B7215C0-E1B8-49BE-B5AA-DE611573A2B6}" dt="2019-08-19T20:46:38.587" v="2982" actId="2696"/>
        <pc:sldMkLst>
          <pc:docMk/>
          <pc:sldMk cId="3954036076" sldId="2436"/>
        </pc:sldMkLst>
        <pc:spChg chg="mod">
          <ac:chgData name="Peter De Tender" userId="b54b6209-5f27-411f-8c6b-6b5d6b548771" providerId="ADAL" clId="{1B7215C0-E1B8-49BE-B5AA-DE611573A2B6}" dt="2019-08-19T20:34:11.278" v="2558" actId="255"/>
          <ac:spMkLst>
            <pc:docMk/>
            <pc:sldMk cId="3954036076" sldId="2436"/>
            <ac:spMk id="2" creationId="{3021F158-1CF4-4F97-BE47-B192234157D6}"/>
          </ac:spMkLst>
        </pc:spChg>
      </pc:sldChg>
      <pc:sldChg chg="del">
        <pc:chgData name="Peter De Tender" userId="b54b6209-5f27-411f-8c6b-6b5d6b548771" providerId="ADAL" clId="{1B7215C0-E1B8-49BE-B5AA-DE611573A2B6}" dt="2019-08-19T18:36:45.330" v="61" actId="2696"/>
        <pc:sldMkLst>
          <pc:docMk/>
          <pc:sldMk cId="2238522511" sldId="3617"/>
        </pc:sldMkLst>
      </pc:sldChg>
      <pc:sldChg chg="addSp delSp modSp">
        <pc:chgData name="Peter De Tender" userId="b54b6209-5f27-411f-8c6b-6b5d6b548771" providerId="ADAL" clId="{1B7215C0-E1B8-49BE-B5AA-DE611573A2B6}" dt="2019-08-19T20:13:37.770" v="2258" actId="208"/>
        <pc:sldMkLst>
          <pc:docMk/>
          <pc:sldMk cId="3753645684" sldId="3670"/>
        </pc:sldMkLst>
        <pc:spChg chg="add del mod">
          <ac:chgData name="Peter De Tender" userId="b54b6209-5f27-411f-8c6b-6b5d6b548771" providerId="ADAL" clId="{1B7215C0-E1B8-49BE-B5AA-DE611573A2B6}" dt="2019-08-19T20:12:39.970" v="2249" actId="478"/>
          <ac:spMkLst>
            <pc:docMk/>
            <pc:sldMk cId="3753645684" sldId="3670"/>
            <ac:spMk id="2" creationId="{1BFB4305-D8D3-4DCB-A9C0-E6757F170ED8}"/>
          </ac:spMkLst>
        </pc:spChg>
        <pc:spChg chg="mod">
          <ac:chgData name="Peter De Tender" userId="b54b6209-5f27-411f-8c6b-6b5d6b548771" providerId="ADAL" clId="{1B7215C0-E1B8-49BE-B5AA-DE611573A2B6}" dt="2019-08-19T20:12:48.360" v="2250" actId="255"/>
          <ac:spMkLst>
            <pc:docMk/>
            <pc:sldMk cId="3753645684" sldId="3670"/>
            <ac:spMk id="3" creationId="{ADD70058-9265-4DD8-A79D-004D6FD75EF7}"/>
          </ac:spMkLst>
        </pc:spChg>
        <pc:spChg chg="mod">
          <ac:chgData name="Peter De Tender" userId="b54b6209-5f27-411f-8c6b-6b5d6b548771" providerId="ADAL" clId="{1B7215C0-E1B8-49BE-B5AA-DE611573A2B6}" dt="2019-08-19T20:13:37.770" v="2258" actId="208"/>
          <ac:spMkLst>
            <pc:docMk/>
            <pc:sldMk cId="3753645684" sldId="3670"/>
            <ac:spMk id="44" creationId="{653E6189-B3AA-44B8-9FDE-651C3BF34A03}"/>
          </ac:spMkLst>
        </pc:spChg>
        <pc:spChg chg="mod">
          <ac:chgData name="Peter De Tender" userId="b54b6209-5f27-411f-8c6b-6b5d6b548771" providerId="ADAL" clId="{1B7215C0-E1B8-49BE-B5AA-DE611573A2B6}" dt="2019-08-19T20:13:34.838" v="2257" actId="208"/>
          <ac:spMkLst>
            <pc:docMk/>
            <pc:sldMk cId="3753645684" sldId="3670"/>
            <ac:spMk id="69" creationId="{1BF3E129-7290-4F3F-8EAA-A21A287DFE00}"/>
          </ac:spMkLst>
        </pc:spChg>
        <pc:spChg chg="mod">
          <ac:chgData name="Peter De Tender" userId="b54b6209-5f27-411f-8c6b-6b5d6b548771" providerId="ADAL" clId="{1B7215C0-E1B8-49BE-B5AA-DE611573A2B6}" dt="2019-08-19T20:13:19.520" v="2256" actId="207"/>
          <ac:spMkLst>
            <pc:docMk/>
            <pc:sldMk cId="3753645684" sldId="3670"/>
            <ac:spMk id="145" creationId="{09799190-2932-4BB0-83EF-3289BC1F7F5F}"/>
          </ac:spMkLst>
        </pc:spChg>
        <pc:spChg chg="mod">
          <ac:chgData name="Peter De Tender" userId="b54b6209-5f27-411f-8c6b-6b5d6b548771" providerId="ADAL" clId="{1B7215C0-E1B8-49BE-B5AA-DE611573A2B6}" dt="2019-08-19T20:13:14.602" v="2254" actId="207"/>
          <ac:spMkLst>
            <pc:docMk/>
            <pc:sldMk cId="3753645684" sldId="3670"/>
            <ac:spMk id="146" creationId="{3A2C78F6-646D-4885-B2CC-6B47BC42F8D3}"/>
          </ac:spMkLst>
        </pc:spChg>
      </pc:sldChg>
      <pc:sldChg chg="modSp">
        <pc:chgData name="Peter De Tender" userId="b54b6209-5f27-411f-8c6b-6b5d6b548771" providerId="ADAL" clId="{1B7215C0-E1B8-49BE-B5AA-DE611573A2B6}" dt="2019-08-19T19:35:46.131" v="2063" actId="20577"/>
        <pc:sldMkLst>
          <pc:docMk/>
          <pc:sldMk cId="1776445825" sldId="3682"/>
        </pc:sldMkLst>
        <pc:spChg chg="mod">
          <ac:chgData name="Peter De Tender" userId="b54b6209-5f27-411f-8c6b-6b5d6b548771" providerId="ADAL" clId="{1B7215C0-E1B8-49BE-B5AA-DE611573A2B6}" dt="2019-08-19T19:35:46.131" v="2063" actId="20577"/>
          <ac:spMkLst>
            <pc:docMk/>
            <pc:sldMk cId="1776445825" sldId="3682"/>
            <ac:spMk id="2" creationId="{F4F2E7A0-9F39-4283-AA15-CF9F19704565}"/>
          </ac:spMkLst>
        </pc:spChg>
      </pc:sldChg>
      <pc:sldChg chg="modSp del">
        <pc:chgData name="Peter De Tender" userId="b54b6209-5f27-411f-8c6b-6b5d6b548771" providerId="ADAL" clId="{1B7215C0-E1B8-49BE-B5AA-DE611573A2B6}" dt="2019-08-19T18:57:31.790" v="851" actId="2696"/>
        <pc:sldMkLst>
          <pc:docMk/>
          <pc:sldMk cId="3063104581" sldId="3687"/>
        </pc:sldMkLst>
        <pc:spChg chg="mod">
          <ac:chgData name="Peter De Tender" userId="b54b6209-5f27-411f-8c6b-6b5d6b548771" providerId="ADAL" clId="{1B7215C0-E1B8-49BE-B5AA-DE611573A2B6}" dt="2019-08-19T18:49:36.152" v="537" actId="20577"/>
          <ac:spMkLst>
            <pc:docMk/>
            <pc:sldMk cId="3063104581" sldId="3687"/>
            <ac:spMk id="2" creationId="{BCAC4C56-DF03-4C79-9CBA-270E4E220554}"/>
          </ac:spMkLst>
        </pc:spChg>
        <pc:graphicFrameChg chg="mod modGraphic">
          <ac:chgData name="Peter De Tender" userId="b54b6209-5f27-411f-8c6b-6b5d6b548771" providerId="ADAL" clId="{1B7215C0-E1B8-49BE-B5AA-DE611573A2B6}" dt="2019-08-19T18:49:59.849" v="545" actId="20577"/>
          <ac:graphicFrameMkLst>
            <pc:docMk/>
            <pc:sldMk cId="3063104581" sldId="3687"/>
            <ac:graphicFrameMk id="3" creationId="{5E523B8F-E2AE-45F7-88F0-639EF13D139C}"/>
          </ac:graphicFrameMkLst>
        </pc:graphicFrameChg>
      </pc:sldChg>
      <pc:sldChg chg="modSp">
        <pc:chgData name="Peter De Tender" userId="b54b6209-5f27-411f-8c6b-6b5d6b548771" providerId="ADAL" clId="{1B7215C0-E1B8-49BE-B5AA-DE611573A2B6}" dt="2019-08-19T19:21:02.820" v="1069" actId="404"/>
        <pc:sldMkLst>
          <pc:docMk/>
          <pc:sldMk cId="3882780754" sldId="3689"/>
        </pc:sldMkLst>
        <pc:spChg chg="mod">
          <ac:chgData name="Peter De Tender" userId="b54b6209-5f27-411f-8c6b-6b5d6b548771" providerId="ADAL" clId="{1B7215C0-E1B8-49BE-B5AA-DE611573A2B6}" dt="2019-08-19T19:20:56.305" v="1068" actId="255"/>
          <ac:spMkLst>
            <pc:docMk/>
            <pc:sldMk cId="3882780754" sldId="3689"/>
            <ac:spMk id="2" creationId="{97C62725-20B2-4B0B-B4DC-2380F17AD351}"/>
          </ac:spMkLst>
        </pc:spChg>
        <pc:spChg chg="mod">
          <ac:chgData name="Peter De Tender" userId="b54b6209-5f27-411f-8c6b-6b5d6b548771" providerId="ADAL" clId="{1B7215C0-E1B8-49BE-B5AA-DE611573A2B6}" dt="2019-08-19T19:21:02.820" v="1069" actId="404"/>
          <ac:spMkLst>
            <pc:docMk/>
            <pc:sldMk cId="3882780754" sldId="3689"/>
            <ac:spMk id="3" creationId="{318950A0-2611-42E2-ABF0-430DB4C7995A}"/>
          </ac:spMkLst>
        </pc:spChg>
      </pc:sldChg>
      <pc:sldChg chg="addSp modSp">
        <pc:chgData name="Peter De Tender" userId="b54b6209-5f27-411f-8c6b-6b5d6b548771" providerId="ADAL" clId="{1B7215C0-E1B8-49BE-B5AA-DE611573A2B6}" dt="2019-08-19T19:22:29.961" v="1097" actId="6549"/>
        <pc:sldMkLst>
          <pc:docMk/>
          <pc:sldMk cId="2539620937" sldId="3690"/>
        </pc:sldMkLst>
        <pc:spChg chg="mod">
          <ac:chgData name="Peter De Tender" userId="b54b6209-5f27-411f-8c6b-6b5d6b548771" providerId="ADAL" clId="{1B7215C0-E1B8-49BE-B5AA-DE611573A2B6}" dt="2019-08-19T19:22:29.961" v="1097" actId="6549"/>
          <ac:spMkLst>
            <pc:docMk/>
            <pc:sldMk cId="2539620937" sldId="3690"/>
            <ac:spMk id="3" creationId="{7ABF10F4-9BEA-41EB-884C-51801216630D}"/>
          </ac:spMkLst>
        </pc:spChg>
        <pc:picChg chg="add mod">
          <ac:chgData name="Peter De Tender" userId="b54b6209-5f27-411f-8c6b-6b5d6b548771" providerId="ADAL" clId="{1B7215C0-E1B8-49BE-B5AA-DE611573A2B6}" dt="2019-08-19T19:21:50.239" v="1073" actId="1076"/>
          <ac:picMkLst>
            <pc:docMk/>
            <pc:sldMk cId="2539620937" sldId="3690"/>
            <ac:picMk id="4" creationId="{F8A8D847-AA60-4BB2-B1A8-F4F0BBDAB1A4}"/>
          </ac:picMkLst>
        </pc:picChg>
      </pc:sldChg>
      <pc:sldChg chg="del">
        <pc:chgData name="Peter De Tender" userId="b54b6209-5f27-411f-8c6b-6b5d6b548771" providerId="ADAL" clId="{1B7215C0-E1B8-49BE-B5AA-DE611573A2B6}" dt="2019-08-19T18:36:45.830" v="87" actId="2696"/>
        <pc:sldMkLst>
          <pc:docMk/>
          <pc:sldMk cId="730212799" sldId="3719"/>
        </pc:sldMkLst>
      </pc:sldChg>
      <pc:sldChg chg="del">
        <pc:chgData name="Peter De Tender" userId="b54b6209-5f27-411f-8c6b-6b5d6b548771" providerId="ADAL" clId="{1B7215C0-E1B8-49BE-B5AA-DE611573A2B6}" dt="2019-08-19T18:36:45.857" v="88" actId="2696"/>
        <pc:sldMkLst>
          <pc:docMk/>
          <pc:sldMk cId="2810241983" sldId="3720"/>
        </pc:sldMkLst>
      </pc:sldChg>
      <pc:sldChg chg="del">
        <pc:chgData name="Peter De Tender" userId="b54b6209-5f27-411f-8c6b-6b5d6b548771" providerId="ADAL" clId="{1B7215C0-E1B8-49BE-B5AA-DE611573A2B6}" dt="2019-08-19T18:36:45.927" v="92" actId="2696"/>
        <pc:sldMkLst>
          <pc:docMk/>
          <pc:sldMk cId="3039479775" sldId="3751"/>
        </pc:sldMkLst>
      </pc:sldChg>
      <pc:sldChg chg="modSp">
        <pc:chgData name="Peter De Tender" userId="b54b6209-5f27-411f-8c6b-6b5d6b548771" providerId="ADAL" clId="{1B7215C0-E1B8-49BE-B5AA-DE611573A2B6}" dt="2019-08-19T21:00:50.780" v="4381" actId="20577"/>
        <pc:sldMkLst>
          <pc:docMk/>
          <pc:sldMk cId="3243290784" sldId="4323"/>
        </pc:sldMkLst>
        <pc:spChg chg="mod">
          <ac:chgData name="Peter De Tender" userId="b54b6209-5f27-411f-8c6b-6b5d6b548771" providerId="ADAL" clId="{1B7215C0-E1B8-49BE-B5AA-DE611573A2B6}" dt="2019-08-19T21:00:50.780" v="4381" actId="20577"/>
          <ac:spMkLst>
            <pc:docMk/>
            <pc:sldMk cId="3243290784" sldId="4323"/>
            <ac:spMk id="4" creationId="{23F0A433-EF7F-4510-AD9B-93AD5EDD9241}"/>
          </ac:spMkLst>
        </pc:spChg>
      </pc:sldChg>
      <pc:sldChg chg="modSp">
        <pc:chgData name="Peter De Tender" userId="b54b6209-5f27-411f-8c6b-6b5d6b548771" providerId="ADAL" clId="{1B7215C0-E1B8-49BE-B5AA-DE611573A2B6}" dt="2019-08-19T21:01:16.622" v="4431" actId="20577"/>
        <pc:sldMkLst>
          <pc:docMk/>
          <pc:sldMk cId="240323736" sldId="4325"/>
        </pc:sldMkLst>
        <pc:spChg chg="mod">
          <ac:chgData name="Peter De Tender" userId="b54b6209-5f27-411f-8c6b-6b5d6b548771" providerId="ADAL" clId="{1B7215C0-E1B8-49BE-B5AA-DE611573A2B6}" dt="2019-08-19T21:01:16.622" v="4431" actId="20577"/>
          <ac:spMkLst>
            <pc:docMk/>
            <pc:sldMk cId="240323736" sldId="4325"/>
            <ac:spMk id="5" creationId="{94FF6427-3B79-4E7B-AAD7-5401A7BF243C}"/>
          </ac:spMkLst>
        </pc:spChg>
      </pc:sldChg>
      <pc:sldChg chg="modSp">
        <pc:chgData name="Peter De Tender" userId="b54b6209-5f27-411f-8c6b-6b5d6b548771" providerId="ADAL" clId="{1B7215C0-E1B8-49BE-B5AA-DE611573A2B6}" dt="2019-08-19T20:22:02.481" v="2295" actId="20577"/>
        <pc:sldMkLst>
          <pc:docMk/>
          <pc:sldMk cId="190629274" sldId="4328"/>
        </pc:sldMkLst>
        <pc:spChg chg="mod">
          <ac:chgData name="Peter De Tender" userId="b54b6209-5f27-411f-8c6b-6b5d6b548771" providerId="ADAL" clId="{1B7215C0-E1B8-49BE-B5AA-DE611573A2B6}" dt="2019-08-19T18:36:19.073" v="45" actId="20577"/>
          <ac:spMkLst>
            <pc:docMk/>
            <pc:sldMk cId="190629274" sldId="4328"/>
            <ac:spMk id="13" creationId="{A7899278-BD67-4AAC-9874-65FAF4AED117}"/>
          </ac:spMkLst>
        </pc:spChg>
        <pc:spChg chg="mod">
          <ac:chgData name="Peter De Tender" userId="b54b6209-5f27-411f-8c6b-6b5d6b548771" providerId="ADAL" clId="{1B7215C0-E1B8-49BE-B5AA-DE611573A2B6}" dt="2019-08-19T20:22:02.481" v="2295" actId="20577"/>
          <ac:spMkLst>
            <pc:docMk/>
            <pc:sldMk cId="190629274" sldId="4328"/>
            <ac:spMk id="14" creationId="{8B004072-1B0B-4387-9E77-76A61E081B56}"/>
          </ac:spMkLst>
        </pc:spChg>
      </pc:sldChg>
      <pc:sldChg chg="del">
        <pc:chgData name="Peter De Tender" userId="b54b6209-5f27-411f-8c6b-6b5d6b548771" providerId="ADAL" clId="{1B7215C0-E1B8-49BE-B5AA-DE611573A2B6}" dt="2019-08-19T18:36:44.290" v="46" actId="2696"/>
        <pc:sldMkLst>
          <pc:docMk/>
          <pc:sldMk cId="3540465843" sldId="4329"/>
        </pc:sldMkLst>
      </pc:sldChg>
      <pc:sldChg chg="del">
        <pc:chgData name="Peter De Tender" userId="b54b6209-5f27-411f-8c6b-6b5d6b548771" providerId="ADAL" clId="{1B7215C0-E1B8-49BE-B5AA-DE611573A2B6}" dt="2019-08-19T18:36:44.543" v="47" actId="2696"/>
        <pc:sldMkLst>
          <pc:docMk/>
          <pc:sldMk cId="3679912395" sldId="4330"/>
        </pc:sldMkLst>
      </pc:sldChg>
      <pc:sldChg chg="del">
        <pc:chgData name="Peter De Tender" userId="b54b6209-5f27-411f-8c6b-6b5d6b548771" providerId="ADAL" clId="{1B7215C0-E1B8-49BE-B5AA-DE611573A2B6}" dt="2019-08-19T18:36:44.790" v="48" actId="2696"/>
        <pc:sldMkLst>
          <pc:docMk/>
          <pc:sldMk cId="2778040106" sldId="4331"/>
        </pc:sldMkLst>
      </pc:sldChg>
      <pc:sldChg chg="del">
        <pc:chgData name="Peter De Tender" userId="b54b6209-5f27-411f-8c6b-6b5d6b548771" providerId="ADAL" clId="{1B7215C0-E1B8-49BE-B5AA-DE611573A2B6}" dt="2019-08-19T18:36:44.861" v="49" actId="2696"/>
        <pc:sldMkLst>
          <pc:docMk/>
          <pc:sldMk cId="3008328583" sldId="4332"/>
        </pc:sldMkLst>
      </pc:sldChg>
      <pc:sldChg chg="del">
        <pc:chgData name="Peter De Tender" userId="b54b6209-5f27-411f-8c6b-6b5d6b548771" providerId="ADAL" clId="{1B7215C0-E1B8-49BE-B5AA-DE611573A2B6}" dt="2019-08-19T18:36:44.911" v="50" actId="2696"/>
        <pc:sldMkLst>
          <pc:docMk/>
          <pc:sldMk cId="3140353044" sldId="4333"/>
        </pc:sldMkLst>
      </pc:sldChg>
      <pc:sldChg chg="del">
        <pc:chgData name="Peter De Tender" userId="b54b6209-5f27-411f-8c6b-6b5d6b548771" providerId="ADAL" clId="{1B7215C0-E1B8-49BE-B5AA-DE611573A2B6}" dt="2019-08-19T18:36:45.139" v="55" actId="2696"/>
        <pc:sldMkLst>
          <pc:docMk/>
          <pc:sldMk cId="758061030" sldId="4334"/>
        </pc:sldMkLst>
      </pc:sldChg>
      <pc:sldChg chg="del">
        <pc:chgData name="Peter De Tender" userId="b54b6209-5f27-411f-8c6b-6b5d6b548771" providerId="ADAL" clId="{1B7215C0-E1B8-49BE-B5AA-DE611573A2B6}" dt="2019-08-19T18:36:44.936" v="51" actId="2696"/>
        <pc:sldMkLst>
          <pc:docMk/>
          <pc:sldMk cId="3036371243" sldId="4335"/>
        </pc:sldMkLst>
      </pc:sldChg>
      <pc:sldChg chg="del">
        <pc:chgData name="Peter De Tender" userId="b54b6209-5f27-411f-8c6b-6b5d6b548771" providerId="ADAL" clId="{1B7215C0-E1B8-49BE-B5AA-DE611573A2B6}" dt="2019-08-19T18:36:45.169" v="56" actId="2696"/>
        <pc:sldMkLst>
          <pc:docMk/>
          <pc:sldMk cId="1100200579" sldId="4336"/>
        </pc:sldMkLst>
      </pc:sldChg>
      <pc:sldChg chg="del">
        <pc:chgData name="Peter De Tender" userId="b54b6209-5f27-411f-8c6b-6b5d6b548771" providerId="ADAL" clId="{1B7215C0-E1B8-49BE-B5AA-DE611573A2B6}" dt="2019-08-19T18:36:45.255" v="59" actId="2696"/>
        <pc:sldMkLst>
          <pc:docMk/>
          <pc:sldMk cId="1237986862" sldId="4337"/>
        </pc:sldMkLst>
      </pc:sldChg>
      <pc:sldChg chg="del">
        <pc:chgData name="Peter De Tender" userId="b54b6209-5f27-411f-8c6b-6b5d6b548771" providerId="ADAL" clId="{1B7215C0-E1B8-49BE-B5AA-DE611573A2B6}" dt="2019-08-19T18:36:45.772" v="83" actId="2696"/>
        <pc:sldMkLst>
          <pc:docMk/>
          <pc:sldMk cId="3949828166" sldId="4338"/>
        </pc:sldMkLst>
      </pc:sldChg>
      <pc:sldChg chg="del">
        <pc:chgData name="Peter De Tender" userId="b54b6209-5f27-411f-8c6b-6b5d6b548771" providerId="ADAL" clId="{1B7215C0-E1B8-49BE-B5AA-DE611573A2B6}" dt="2019-08-19T18:36:45.795" v="84" actId="2696"/>
        <pc:sldMkLst>
          <pc:docMk/>
          <pc:sldMk cId="2882719645" sldId="4339"/>
        </pc:sldMkLst>
      </pc:sldChg>
      <pc:sldChg chg="del">
        <pc:chgData name="Peter De Tender" userId="b54b6209-5f27-411f-8c6b-6b5d6b548771" providerId="ADAL" clId="{1B7215C0-E1B8-49BE-B5AA-DE611573A2B6}" dt="2019-08-19T18:36:45.289" v="60" actId="2696"/>
        <pc:sldMkLst>
          <pc:docMk/>
          <pc:sldMk cId="2321288923" sldId="4340"/>
        </pc:sldMkLst>
      </pc:sldChg>
      <pc:sldChg chg="del">
        <pc:chgData name="Peter De Tender" userId="b54b6209-5f27-411f-8c6b-6b5d6b548771" providerId="ADAL" clId="{1B7215C0-E1B8-49BE-B5AA-DE611573A2B6}" dt="2019-08-19T18:36:45.521" v="69" actId="2696"/>
        <pc:sldMkLst>
          <pc:docMk/>
          <pc:sldMk cId="1326343169" sldId="4341"/>
        </pc:sldMkLst>
      </pc:sldChg>
      <pc:sldChg chg="del">
        <pc:chgData name="Peter De Tender" userId="b54b6209-5f27-411f-8c6b-6b5d6b548771" providerId="ADAL" clId="{1B7215C0-E1B8-49BE-B5AA-DE611573A2B6}" dt="2019-08-19T18:36:45.670" v="77" actId="2696"/>
        <pc:sldMkLst>
          <pc:docMk/>
          <pc:sldMk cId="3034678098" sldId="4342"/>
        </pc:sldMkLst>
      </pc:sldChg>
      <pc:sldChg chg="del">
        <pc:chgData name="Peter De Tender" userId="b54b6209-5f27-411f-8c6b-6b5d6b548771" providerId="ADAL" clId="{1B7215C0-E1B8-49BE-B5AA-DE611573A2B6}" dt="2019-08-19T18:36:45.090" v="54" actId="2696"/>
        <pc:sldMkLst>
          <pc:docMk/>
          <pc:sldMk cId="3804057207" sldId="4343"/>
        </pc:sldMkLst>
      </pc:sldChg>
      <pc:sldChg chg="del">
        <pc:chgData name="Peter De Tender" userId="b54b6209-5f27-411f-8c6b-6b5d6b548771" providerId="ADAL" clId="{1B7215C0-E1B8-49BE-B5AA-DE611573A2B6}" dt="2019-08-19T18:36:45.003" v="53" actId="2696"/>
        <pc:sldMkLst>
          <pc:docMk/>
          <pc:sldMk cId="121598453" sldId="4344"/>
        </pc:sldMkLst>
      </pc:sldChg>
      <pc:sldChg chg="del">
        <pc:chgData name="Peter De Tender" userId="b54b6209-5f27-411f-8c6b-6b5d6b548771" providerId="ADAL" clId="{1B7215C0-E1B8-49BE-B5AA-DE611573A2B6}" dt="2019-08-19T18:36:44.963" v="52" actId="2696"/>
        <pc:sldMkLst>
          <pc:docMk/>
          <pc:sldMk cId="312290265" sldId="4345"/>
        </pc:sldMkLst>
      </pc:sldChg>
      <pc:sldChg chg="del">
        <pc:chgData name="Peter De Tender" userId="b54b6209-5f27-411f-8c6b-6b5d6b548771" providerId="ADAL" clId="{1B7215C0-E1B8-49BE-B5AA-DE611573A2B6}" dt="2019-08-19T18:36:45.352" v="62" actId="2696"/>
        <pc:sldMkLst>
          <pc:docMk/>
          <pc:sldMk cId="2508079431" sldId="4346"/>
        </pc:sldMkLst>
      </pc:sldChg>
      <pc:sldChg chg="del">
        <pc:chgData name="Peter De Tender" userId="b54b6209-5f27-411f-8c6b-6b5d6b548771" providerId="ADAL" clId="{1B7215C0-E1B8-49BE-B5AA-DE611573A2B6}" dt="2019-08-19T18:36:45.377" v="63" actId="2696"/>
        <pc:sldMkLst>
          <pc:docMk/>
          <pc:sldMk cId="1870271081" sldId="4347"/>
        </pc:sldMkLst>
      </pc:sldChg>
      <pc:sldChg chg="del">
        <pc:chgData name="Peter De Tender" userId="b54b6209-5f27-411f-8c6b-6b5d6b548771" providerId="ADAL" clId="{1B7215C0-E1B8-49BE-B5AA-DE611573A2B6}" dt="2019-08-19T18:36:45.195" v="57" actId="2696"/>
        <pc:sldMkLst>
          <pc:docMk/>
          <pc:sldMk cId="1875226205" sldId="4348"/>
        </pc:sldMkLst>
      </pc:sldChg>
      <pc:sldChg chg="del">
        <pc:chgData name="Peter De Tender" userId="b54b6209-5f27-411f-8c6b-6b5d6b548771" providerId="ADAL" clId="{1B7215C0-E1B8-49BE-B5AA-DE611573A2B6}" dt="2019-08-19T18:36:45.685" v="78" actId="2696"/>
        <pc:sldMkLst>
          <pc:docMk/>
          <pc:sldMk cId="323445137" sldId="4349"/>
        </pc:sldMkLst>
      </pc:sldChg>
      <pc:sldChg chg="del">
        <pc:chgData name="Peter De Tender" userId="b54b6209-5f27-411f-8c6b-6b5d6b548771" providerId="ADAL" clId="{1B7215C0-E1B8-49BE-B5AA-DE611573A2B6}" dt="2019-08-19T18:36:45.502" v="68" actId="2696"/>
        <pc:sldMkLst>
          <pc:docMk/>
          <pc:sldMk cId="1295095696" sldId="4350"/>
        </pc:sldMkLst>
      </pc:sldChg>
      <pc:sldChg chg="del">
        <pc:chgData name="Peter De Tender" userId="b54b6209-5f27-411f-8c6b-6b5d6b548771" providerId="ADAL" clId="{1B7215C0-E1B8-49BE-B5AA-DE611573A2B6}" dt="2019-08-19T18:36:45.467" v="67" actId="2696"/>
        <pc:sldMkLst>
          <pc:docMk/>
          <pc:sldMk cId="3384366457" sldId="4351"/>
        </pc:sldMkLst>
      </pc:sldChg>
      <pc:sldChg chg="del">
        <pc:chgData name="Peter De Tender" userId="b54b6209-5f27-411f-8c6b-6b5d6b548771" providerId="ADAL" clId="{1B7215C0-E1B8-49BE-B5AA-DE611573A2B6}" dt="2019-08-19T18:36:45.448" v="66" actId="2696"/>
        <pc:sldMkLst>
          <pc:docMk/>
          <pc:sldMk cId="421657464" sldId="4352"/>
        </pc:sldMkLst>
      </pc:sldChg>
      <pc:sldChg chg="del">
        <pc:chgData name="Peter De Tender" userId="b54b6209-5f27-411f-8c6b-6b5d6b548771" providerId="ADAL" clId="{1B7215C0-E1B8-49BE-B5AA-DE611573A2B6}" dt="2019-08-19T18:36:45.429" v="65" actId="2696"/>
        <pc:sldMkLst>
          <pc:docMk/>
          <pc:sldMk cId="1183939943" sldId="4353"/>
        </pc:sldMkLst>
      </pc:sldChg>
      <pc:sldChg chg="del">
        <pc:chgData name="Peter De Tender" userId="b54b6209-5f27-411f-8c6b-6b5d6b548771" providerId="ADAL" clId="{1B7215C0-E1B8-49BE-B5AA-DE611573A2B6}" dt="2019-08-19T18:36:45.402" v="64" actId="2696"/>
        <pc:sldMkLst>
          <pc:docMk/>
          <pc:sldMk cId="3226505137" sldId="4354"/>
        </pc:sldMkLst>
      </pc:sldChg>
      <pc:sldChg chg="del">
        <pc:chgData name="Peter De Tender" userId="b54b6209-5f27-411f-8c6b-6b5d6b548771" providerId="ADAL" clId="{1B7215C0-E1B8-49BE-B5AA-DE611573A2B6}" dt="2019-08-19T18:36:45.535" v="70" actId="2696"/>
        <pc:sldMkLst>
          <pc:docMk/>
          <pc:sldMk cId="2564929492" sldId="4355"/>
        </pc:sldMkLst>
      </pc:sldChg>
      <pc:sldChg chg="del">
        <pc:chgData name="Peter De Tender" userId="b54b6209-5f27-411f-8c6b-6b5d6b548771" providerId="ADAL" clId="{1B7215C0-E1B8-49BE-B5AA-DE611573A2B6}" dt="2019-08-19T18:36:45.553" v="71" actId="2696"/>
        <pc:sldMkLst>
          <pc:docMk/>
          <pc:sldMk cId="1646240418" sldId="4356"/>
        </pc:sldMkLst>
      </pc:sldChg>
      <pc:sldChg chg="del">
        <pc:chgData name="Peter De Tender" userId="b54b6209-5f27-411f-8c6b-6b5d6b548771" providerId="ADAL" clId="{1B7215C0-E1B8-49BE-B5AA-DE611573A2B6}" dt="2019-08-19T18:36:45.570" v="72" actId="2696"/>
        <pc:sldMkLst>
          <pc:docMk/>
          <pc:sldMk cId="397089280" sldId="4357"/>
        </pc:sldMkLst>
      </pc:sldChg>
      <pc:sldChg chg="del">
        <pc:chgData name="Peter De Tender" userId="b54b6209-5f27-411f-8c6b-6b5d6b548771" providerId="ADAL" clId="{1B7215C0-E1B8-49BE-B5AA-DE611573A2B6}" dt="2019-08-19T18:36:45.588" v="73" actId="2696"/>
        <pc:sldMkLst>
          <pc:docMk/>
          <pc:sldMk cId="1821525342" sldId="4358"/>
        </pc:sldMkLst>
      </pc:sldChg>
      <pc:sldChg chg="del">
        <pc:chgData name="Peter De Tender" userId="b54b6209-5f27-411f-8c6b-6b5d6b548771" providerId="ADAL" clId="{1B7215C0-E1B8-49BE-B5AA-DE611573A2B6}" dt="2019-08-19T18:36:45.605" v="74" actId="2696"/>
        <pc:sldMkLst>
          <pc:docMk/>
          <pc:sldMk cId="2781271725" sldId="4359"/>
        </pc:sldMkLst>
      </pc:sldChg>
      <pc:sldChg chg="del">
        <pc:chgData name="Peter De Tender" userId="b54b6209-5f27-411f-8c6b-6b5d6b548771" providerId="ADAL" clId="{1B7215C0-E1B8-49BE-B5AA-DE611573A2B6}" dt="2019-08-19T18:36:45.654" v="75" actId="2696"/>
        <pc:sldMkLst>
          <pc:docMk/>
          <pc:sldMk cId="318915537" sldId="4360"/>
        </pc:sldMkLst>
      </pc:sldChg>
      <pc:sldChg chg="del">
        <pc:chgData name="Peter De Tender" userId="b54b6209-5f27-411f-8c6b-6b5d6b548771" providerId="ADAL" clId="{1B7215C0-E1B8-49BE-B5AA-DE611573A2B6}" dt="2019-08-19T18:36:45.707" v="79" actId="2696"/>
        <pc:sldMkLst>
          <pc:docMk/>
          <pc:sldMk cId="3055103046" sldId="4361"/>
        </pc:sldMkLst>
      </pc:sldChg>
      <pc:sldChg chg="del">
        <pc:chgData name="Peter De Tender" userId="b54b6209-5f27-411f-8c6b-6b5d6b548771" providerId="ADAL" clId="{1B7215C0-E1B8-49BE-B5AA-DE611573A2B6}" dt="2019-08-19T18:36:45.741" v="81" actId="2696"/>
        <pc:sldMkLst>
          <pc:docMk/>
          <pc:sldMk cId="752190776" sldId="4362"/>
        </pc:sldMkLst>
      </pc:sldChg>
      <pc:sldChg chg="del">
        <pc:chgData name="Peter De Tender" userId="b54b6209-5f27-411f-8c6b-6b5d6b548771" providerId="ADAL" clId="{1B7215C0-E1B8-49BE-B5AA-DE611573A2B6}" dt="2019-08-19T18:36:45.813" v="85" actId="2696"/>
        <pc:sldMkLst>
          <pc:docMk/>
          <pc:sldMk cId="878724313" sldId="4363"/>
        </pc:sldMkLst>
      </pc:sldChg>
      <pc:sldChg chg="modSp">
        <pc:chgData name="Peter De Tender" userId="b54b6209-5f27-411f-8c6b-6b5d6b548771" providerId="ADAL" clId="{1B7215C0-E1B8-49BE-B5AA-DE611573A2B6}" dt="2019-08-19T20:27:39.751" v="2340" actId="207"/>
        <pc:sldMkLst>
          <pc:docMk/>
          <pc:sldMk cId="1497213779" sldId="4528"/>
        </pc:sldMkLst>
        <pc:spChg chg="mod">
          <ac:chgData name="Peter De Tender" userId="b54b6209-5f27-411f-8c6b-6b5d6b548771" providerId="ADAL" clId="{1B7215C0-E1B8-49BE-B5AA-DE611573A2B6}" dt="2019-08-19T20:25:34.925" v="2324" actId="255"/>
          <ac:spMkLst>
            <pc:docMk/>
            <pc:sldMk cId="1497213779" sldId="4528"/>
            <ac:spMk id="2" creationId="{F4F2E7A0-9F39-4283-AA15-CF9F19704565}"/>
          </ac:spMkLst>
        </pc:spChg>
        <pc:spChg chg="mod">
          <ac:chgData name="Peter De Tender" userId="b54b6209-5f27-411f-8c6b-6b5d6b548771" providerId="ADAL" clId="{1B7215C0-E1B8-49BE-B5AA-DE611573A2B6}" dt="2019-08-19T20:26:57.163" v="2333" actId="207"/>
          <ac:spMkLst>
            <pc:docMk/>
            <pc:sldMk cId="1497213779" sldId="4528"/>
            <ac:spMk id="56" creationId="{C699455D-4E62-401C-B838-8025ADF20081}"/>
          </ac:spMkLst>
        </pc:spChg>
        <pc:spChg chg="mod">
          <ac:chgData name="Peter De Tender" userId="b54b6209-5f27-411f-8c6b-6b5d6b548771" providerId="ADAL" clId="{1B7215C0-E1B8-49BE-B5AA-DE611573A2B6}" dt="2019-08-19T20:25:44.295" v="2325" actId="207"/>
          <ac:spMkLst>
            <pc:docMk/>
            <pc:sldMk cId="1497213779" sldId="4528"/>
            <ac:spMk id="61" creationId="{20AF6C35-07C0-4FD2-AB13-431E5E3EAC82}"/>
          </ac:spMkLst>
        </pc:spChg>
        <pc:spChg chg="mod">
          <ac:chgData name="Peter De Tender" userId="b54b6209-5f27-411f-8c6b-6b5d6b548771" providerId="ADAL" clId="{1B7215C0-E1B8-49BE-B5AA-DE611573A2B6}" dt="2019-08-19T20:27:20.072" v="2336" actId="207"/>
          <ac:spMkLst>
            <pc:docMk/>
            <pc:sldMk cId="1497213779" sldId="4528"/>
            <ac:spMk id="88" creationId="{1F00E183-9236-4418-A285-7A29CE804419}"/>
          </ac:spMkLst>
        </pc:spChg>
        <pc:spChg chg="mod">
          <ac:chgData name="Peter De Tender" userId="b54b6209-5f27-411f-8c6b-6b5d6b548771" providerId="ADAL" clId="{1B7215C0-E1B8-49BE-B5AA-DE611573A2B6}" dt="2019-08-19T20:26:09.913" v="2326" actId="208"/>
          <ac:spMkLst>
            <pc:docMk/>
            <pc:sldMk cId="1497213779" sldId="4528"/>
            <ac:spMk id="89" creationId="{8722D251-1619-4CDB-B990-4EAA27FEEEB7}"/>
          </ac:spMkLst>
        </pc:spChg>
        <pc:spChg chg="mod">
          <ac:chgData name="Peter De Tender" userId="b54b6209-5f27-411f-8c6b-6b5d6b548771" providerId="ADAL" clId="{1B7215C0-E1B8-49BE-B5AA-DE611573A2B6}" dt="2019-08-19T20:27:10.460" v="2335" actId="207"/>
          <ac:spMkLst>
            <pc:docMk/>
            <pc:sldMk cId="1497213779" sldId="4528"/>
            <ac:spMk id="90" creationId="{09ECD622-FDCE-4D18-8EFC-7EF5DF2E10AB}"/>
          </ac:spMkLst>
        </pc:spChg>
        <pc:spChg chg="mod">
          <ac:chgData name="Peter De Tender" userId="b54b6209-5f27-411f-8c6b-6b5d6b548771" providerId="ADAL" clId="{1B7215C0-E1B8-49BE-B5AA-DE611573A2B6}" dt="2019-08-19T20:26:41.205" v="2330" actId="207"/>
          <ac:spMkLst>
            <pc:docMk/>
            <pc:sldMk cId="1497213779" sldId="4528"/>
            <ac:spMk id="105" creationId="{B0A2A06D-08FC-4749-A549-7A60D2AAC00E}"/>
          </ac:spMkLst>
        </pc:spChg>
        <pc:spChg chg="mod">
          <ac:chgData name="Peter De Tender" userId="b54b6209-5f27-411f-8c6b-6b5d6b548771" providerId="ADAL" clId="{1B7215C0-E1B8-49BE-B5AA-DE611573A2B6}" dt="2019-08-19T20:25:44.295" v="2325" actId="207"/>
          <ac:spMkLst>
            <pc:docMk/>
            <pc:sldMk cId="1497213779" sldId="4528"/>
            <ac:spMk id="117" creationId="{7E54834A-522E-4915-A13E-147834CD97F3}"/>
          </ac:spMkLst>
        </pc:spChg>
        <pc:spChg chg="mod">
          <ac:chgData name="Peter De Tender" userId="b54b6209-5f27-411f-8c6b-6b5d6b548771" providerId="ADAL" clId="{1B7215C0-E1B8-49BE-B5AA-DE611573A2B6}" dt="2019-08-19T20:25:44.295" v="2325" actId="207"/>
          <ac:spMkLst>
            <pc:docMk/>
            <pc:sldMk cId="1497213779" sldId="4528"/>
            <ac:spMk id="118" creationId="{497CCBF8-A3A2-4B00-9E0B-C0BB0C25F04E}"/>
          </ac:spMkLst>
        </pc:spChg>
        <pc:spChg chg="mod">
          <ac:chgData name="Peter De Tender" userId="b54b6209-5f27-411f-8c6b-6b5d6b548771" providerId="ADAL" clId="{1B7215C0-E1B8-49BE-B5AA-DE611573A2B6}" dt="2019-08-19T20:25:44.295" v="2325" actId="207"/>
          <ac:spMkLst>
            <pc:docMk/>
            <pc:sldMk cId="1497213779" sldId="4528"/>
            <ac:spMk id="119" creationId="{AF8CFA70-C576-4DC3-9B5B-E4C7372D0ABA}"/>
          </ac:spMkLst>
        </pc:spChg>
        <pc:spChg chg="mod">
          <ac:chgData name="Peter De Tender" userId="b54b6209-5f27-411f-8c6b-6b5d6b548771" providerId="ADAL" clId="{1B7215C0-E1B8-49BE-B5AA-DE611573A2B6}" dt="2019-08-19T20:27:30.397" v="2337" actId="207"/>
          <ac:spMkLst>
            <pc:docMk/>
            <pc:sldMk cId="1497213779" sldId="4528"/>
            <ac:spMk id="138" creationId="{FFFA4BEC-8E29-41DB-A460-306B8381E157}"/>
          </ac:spMkLst>
        </pc:spChg>
        <pc:spChg chg="mod">
          <ac:chgData name="Peter De Tender" userId="b54b6209-5f27-411f-8c6b-6b5d6b548771" providerId="ADAL" clId="{1B7215C0-E1B8-49BE-B5AA-DE611573A2B6}" dt="2019-08-19T20:27:33.398" v="2338" actId="207"/>
          <ac:spMkLst>
            <pc:docMk/>
            <pc:sldMk cId="1497213779" sldId="4528"/>
            <ac:spMk id="139" creationId="{A064AA26-59D0-4600-942F-1F59BE7153EA}"/>
          </ac:spMkLst>
        </pc:spChg>
        <pc:spChg chg="mod">
          <ac:chgData name="Peter De Tender" userId="b54b6209-5f27-411f-8c6b-6b5d6b548771" providerId="ADAL" clId="{1B7215C0-E1B8-49BE-B5AA-DE611573A2B6}" dt="2019-08-19T20:27:39.751" v="2340" actId="207"/>
          <ac:spMkLst>
            <pc:docMk/>
            <pc:sldMk cId="1497213779" sldId="4528"/>
            <ac:spMk id="140" creationId="{3BFA48E6-F6E4-4E2C-8312-85776418D99C}"/>
          </ac:spMkLst>
        </pc:spChg>
        <pc:spChg chg="mod">
          <ac:chgData name="Peter De Tender" userId="b54b6209-5f27-411f-8c6b-6b5d6b548771" providerId="ADAL" clId="{1B7215C0-E1B8-49BE-B5AA-DE611573A2B6}" dt="2019-08-19T20:27:36.707" v="2339" actId="207"/>
          <ac:spMkLst>
            <pc:docMk/>
            <pc:sldMk cId="1497213779" sldId="4528"/>
            <ac:spMk id="141" creationId="{3DB08F07-E3CD-4756-BD12-D8702DEB3889}"/>
          </ac:spMkLst>
        </pc:spChg>
        <pc:grpChg chg="mod">
          <ac:chgData name="Peter De Tender" userId="b54b6209-5f27-411f-8c6b-6b5d6b548771" providerId="ADAL" clId="{1B7215C0-E1B8-49BE-B5AA-DE611573A2B6}" dt="2019-08-19T20:26:52.013" v="2332" actId="207"/>
          <ac:grpSpMkLst>
            <pc:docMk/>
            <pc:sldMk cId="1497213779" sldId="4528"/>
            <ac:grpSpMk id="13" creationId="{407DFAFF-8C2E-43EA-B69F-AA08267529E2}"/>
          </ac:grpSpMkLst>
        </pc:grpChg>
        <pc:grpChg chg="mod">
          <ac:chgData name="Peter De Tender" userId="b54b6209-5f27-411f-8c6b-6b5d6b548771" providerId="ADAL" clId="{1B7215C0-E1B8-49BE-B5AA-DE611573A2B6}" dt="2019-08-19T20:27:01.726" v="2334" actId="207"/>
          <ac:grpSpMkLst>
            <pc:docMk/>
            <pc:sldMk cId="1497213779" sldId="4528"/>
            <ac:grpSpMk id="17" creationId="{FC35AA43-D1FD-4173-9C6B-29957C7B8044}"/>
          </ac:grpSpMkLst>
        </pc:grpChg>
        <pc:grpChg chg="mod">
          <ac:chgData name="Peter De Tender" userId="b54b6209-5f27-411f-8c6b-6b5d6b548771" providerId="ADAL" clId="{1B7215C0-E1B8-49BE-B5AA-DE611573A2B6}" dt="2019-08-19T20:26:45.091" v="2331" actId="207"/>
          <ac:grpSpMkLst>
            <pc:docMk/>
            <pc:sldMk cId="1497213779" sldId="4528"/>
            <ac:grpSpMk id="96" creationId="{45CBE607-BBF6-4217-9C5D-968CF60ED551}"/>
          </ac:grpSpMkLst>
        </pc:grpChg>
        <pc:cxnChg chg="mod">
          <ac:chgData name="Peter De Tender" userId="b54b6209-5f27-411f-8c6b-6b5d6b548771" providerId="ADAL" clId="{1B7215C0-E1B8-49BE-B5AA-DE611573A2B6}" dt="2019-08-19T20:25:44.295" v="2325" actId="207"/>
          <ac:cxnSpMkLst>
            <pc:docMk/>
            <pc:sldMk cId="1497213779" sldId="4528"/>
            <ac:cxnSpMk id="78" creationId="{5139492D-80FB-4AC9-8F16-7E0494C5151A}"/>
          </ac:cxnSpMkLst>
        </pc:cxnChg>
        <pc:cxnChg chg="mod">
          <ac:chgData name="Peter De Tender" userId="b54b6209-5f27-411f-8c6b-6b5d6b548771" providerId="ADAL" clId="{1B7215C0-E1B8-49BE-B5AA-DE611573A2B6}" dt="2019-08-19T20:25:44.295" v="2325" actId="207"/>
          <ac:cxnSpMkLst>
            <pc:docMk/>
            <pc:sldMk cId="1497213779" sldId="4528"/>
            <ac:cxnSpMk id="120" creationId="{92BCEDC1-3995-4D8E-99CB-48048D993C55}"/>
          </ac:cxnSpMkLst>
        </pc:cxnChg>
        <pc:cxnChg chg="mod">
          <ac:chgData name="Peter De Tender" userId="b54b6209-5f27-411f-8c6b-6b5d6b548771" providerId="ADAL" clId="{1B7215C0-E1B8-49BE-B5AA-DE611573A2B6}" dt="2019-08-19T20:25:44.295" v="2325" actId="207"/>
          <ac:cxnSpMkLst>
            <pc:docMk/>
            <pc:sldMk cId="1497213779" sldId="4528"/>
            <ac:cxnSpMk id="121" creationId="{AA57EC7A-A298-4405-8547-127CA942306C}"/>
          </ac:cxnSpMkLst>
        </pc:cxnChg>
        <pc:cxnChg chg="mod">
          <ac:chgData name="Peter De Tender" userId="b54b6209-5f27-411f-8c6b-6b5d6b548771" providerId="ADAL" clId="{1B7215C0-E1B8-49BE-B5AA-DE611573A2B6}" dt="2019-08-19T20:25:44.295" v="2325" actId="207"/>
          <ac:cxnSpMkLst>
            <pc:docMk/>
            <pc:sldMk cId="1497213779" sldId="4528"/>
            <ac:cxnSpMk id="122" creationId="{AE6A23C6-FFE1-4782-BB29-765C6AB4CDAE}"/>
          </ac:cxnSpMkLst>
        </pc:cxnChg>
      </pc:sldChg>
      <pc:sldChg chg="modSp">
        <pc:chgData name="Peter De Tender" userId="b54b6209-5f27-411f-8c6b-6b5d6b548771" providerId="ADAL" clId="{1B7215C0-E1B8-49BE-B5AA-DE611573A2B6}" dt="2019-08-19T20:10:13.265" v="2230" actId="207"/>
        <pc:sldMkLst>
          <pc:docMk/>
          <pc:sldMk cId="4023056349" sldId="4529"/>
        </pc:sldMkLst>
        <pc:spChg chg="mod">
          <ac:chgData name="Peter De Tender" userId="b54b6209-5f27-411f-8c6b-6b5d6b548771" providerId="ADAL" clId="{1B7215C0-E1B8-49BE-B5AA-DE611573A2B6}" dt="2019-08-19T20:10:13.265" v="2230" actId="207"/>
          <ac:spMkLst>
            <pc:docMk/>
            <pc:sldMk cId="4023056349" sldId="4529"/>
            <ac:spMk id="6" creationId="{2181237B-6207-4EDD-98CC-DF7DF221E919}"/>
          </ac:spMkLst>
        </pc:spChg>
      </pc:sldChg>
      <pc:sldChg chg="modSp">
        <pc:chgData name="Peter De Tender" userId="b54b6209-5f27-411f-8c6b-6b5d6b548771" providerId="ADAL" clId="{1B7215C0-E1B8-49BE-B5AA-DE611573A2B6}" dt="2019-08-19T20:11:31.548" v="2240" actId="2711"/>
        <pc:sldMkLst>
          <pc:docMk/>
          <pc:sldMk cId="3497235485" sldId="4530"/>
        </pc:sldMkLst>
        <pc:spChg chg="mod">
          <ac:chgData name="Peter De Tender" userId="b54b6209-5f27-411f-8c6b-6b5d6b548771" providerId="ADAL" clId="{1B7215C0-E1B8-49BE-B5AA-DE611573A2B6}" dt="2019-08-19T20:11:31.548" v="2240" actId="2711"/>
          <ac:spMkLst>
            <pc:docMk/>
            <pc:sldMk cId="3497235485" sldId="4530"/>
            <ac:spMk id="6" creationId="{2181237B-6207-4EDD-98CC-DF7DF221E919}"/>
          </ac:spMkLst>
        </pc:spChg>
      </pc:sldChg>
      <pc:sldChg chg="modSp">
        <pc:chgData name="Peter De Tender" userId="b54b6209-5f27-411f-8c6b-6b5d6b548771" providerId="ADAL" clId="{1B7215C0-E1B8-49BE-B5AA-DE611573A2B6}" dt="2019-08-19T20:12:26.341" v="2248" actId="20577"/>
        <pc:sldMkLst>
          <pc:docMk/>
          <pc:sldMk cId="3408623727" sldId="4531"/>
        </pc:sldMkLst>
        <pc:spChg chg="mod">
          <ac:chgData name="Peter De Tender" userId="b54b6209-5f27-411f-8c6b-6b5d6b548771" providerId="ADAL" clId="{1B7215C0-E1B8-49BE-B5AA-DE611573A2B6}" dt="2019-08-19T20:12:26.341" v="2248" actId="20577"/>
          <ac:spMkLst>
            <pc:docMk/>
            <pc:sldMk cId="3408623727" sldId="4531"/>
            <ac:spMk id="6" creationId="{2181237B-6207-4EDD-98CC-DF7DF221E919}"/>
          </ac:spMkLst>
        </pc:spChg>
      </pc:sldChg>
      <pc:sldChg chg="modSp">
        <pc:chgData name="Peter De Tender" userId="b54b6209-5f27-411f-8c6b-6b5d6b548771" providerId="ADAL" clId="{1B7215C0-E1B8-49BE-B5AA-DE611573A2B6}" dt="2019-08-19T18:39:48.838" v="118" actId="20577"/>
        <pc:sldMkLst>
          <pc:docMk/>
          <pc:sldMk cId="1359619026" sldId="4534"/>
        </pc:sldMkLst>
        <pc:spChg chg="mod">
          <ac:chgData name="Peter De Tender" userId="b54b6209-5f27-411f-8c6b-6b5d6b548771" providerId="ADAL" clId="{1B7215C0-E1B8-49BE-B5AA-DE611573A2B6}" dt="2019-08-19T18:39:48.838" v="118" actId="20577"/>
          <ac:spMkLst>
            <pc:docMk/>
            <pc:sldMk cId="1359619026" sldId="4534"/>
            <ac:spMk id="2" creationId="{DE31ED65-CA04-4A0C-A4C3-DB1BC89E29AC}"/>
          </ac:spMkLst>
        </pc:spChg>
      </pc:sldChg>
      <pc:sldChg chg="modSp del">
        <pc:chgData name="Peter De Tender" userId="b54b6209-5f27-411f-8c6b-6b5d6b548771" providerId="ADAL" clId="{1B7215C0-E1B8-49BE-B5AA-DE611573A2B6}" dt="2019-08-19T19:34:40.582" v="2040" actId="2696"/>
        <pc:sldMkLst>
          <pc:docMk/>
          <pc:sldMk cId="1406836714" sldId="4535"/>
        </pc:sldMkLst>
        <pc:graphicFrameChg chg="mod">
          <ac:chgData name="Peter De Tender" userId="b54b6209-5f27-411f-8c6b-6b5d6b548771" providerId="ADAL" clId="{1B7215C0-E1B8-49BE-B5AA-DE611573A2B6}" dt="2019-08-19T18:59:54.479" v="1027" actId="20577"/>
          <ac:graphicFrameMkLst>
            <pc:docMk/>
            <pc:sldMk cId="1406836714" sldId="4535"/>
            <ac:graphicFrameMk id="4" creationId="{EF23DC27-7BA6-4702-BCDC-867CFD0A44D7}"/>
          </ac:graphicFrameMkLst>
        </pc:graphicFrameChg>
      </pc:sldChg>
      <pc:sldChg chg="del">
        <pc:chgData name="Peter De Tender" userId="b54b6209-5f27-411f-8c6b-6b5d6b548771" providerId="ADAL" clId="{1B7215C0-E1B8-49BE-B5AA-DE611573A2B6}" dt="2019-08-19T18:54:30.050" v="701" actId="2696"/>
        <pc:sldMkLst>
          <pc:docMk/>
          <pc:sldMk cId="13182993" sldId="4537"/>
        </pc:sldMkLst>
      </pc:sldChg>
      <pc:sldChg chg="modSp">
        <pc:chgData name="Peter De Tender" userId="b54b6209-5f27-411f-8c6b-6b5d6b548771" providerId="ADAL" clId="{1B7215C0-E1B8-49BE-B5AA-DE611573A2B6}" dt="2019-08-19T20:03:35.769" v="2173" actId="6549"/>
        <pc:sldMkLst>
          <pc:docMk/>
          <pc:sldMk cId="1869685258" sldId="4538"/>
        </pc:sldMkLst>
        <pc:spChg chg="mod">
          <ac:chgData name="Peter De Tender" userId="b54b6209-5f27-411f-8c6b-6b5d6b548771" providerId="ADAL" clId="{1B7215C0-E1B8-49BE-B5AA-DE611573A2B6}" dt="2019-08-19T20:03:35.769" v="2173" actId="6549"/>
          <ac:spMkLst>
            <pc:docMk/>
            <pc:sldMk cId="1869685258" sldId="4538"/>
            <ac:spMk id="3" creationId="{B8721D18-DED5-4B5E-A1AA-4D505EC05130}"/>
          </ac:spMkLst>
        </pc:spChg>
      </pc:sldChg>
      <pc:sldChg chg="addSp modSp">
        <pc:chgData name="Peter De Tender" userId="b54b6209-5f27-411f-8c6b-6b5d6b548771" providerId="ADAL" clId="{1B7215C0-E1B8-49BE-B5AA-DE611573A2B6}" dt="2019-08-19T20:22:43.051" v="2300" actId="208"/>
        <pc:sldMkLst>
          <pc:docMk/>
          <pc:sldMk cId="250603636" sldId="4539"/>
        </pc:sldMkLst>
        <pc:spChg chg="mod">
          <ac:chgData name="Peter De Tender" userId="b54b6209-5f27-411f-8c6b-6b5d6b548771" providerId="ADAL" clId="{1B7215C0-E1B8-49BE-B5AA-DE611573A2B6}" dt="2019-08-19T20:22:16.784" v="2296" actId="255"/>
          <ac:spMkLst>
            <pc:docMk/>
            <pc:sldMk cId="250603636" sldId="4539"/>
            <ac:spMk id="2" creationId="{ED928F72-E292-48BE-B6F6-E96E984BD24B}"/>
          </ac:spMkLst>
        </pc:spChg>
        <pc:spChg chg="add mod">
          <ac:chgData name="Peter De Tender" userId="b54b6209-5f27-411f-8c6b-6b5d6b548771" providerId="ADAL" clId="{1B7215C0-E1B8-49BE-B5AA-DE611573A2B6}" dt="2019-08-19T20:22:34.969" v="2299" actId="207"/>
          <ac:spMkLst>
            <pc:docMk/>
            <pc:sldMk cId="250603636" sldId="4539"/>
            <ac:spMk id="3" creationId="{2187A55E-DB1B-44B1-AE79-6DFF4A9D9F46}"/>
          </ac:spMkLst>
        </pc:spChg>
        <pc:picChg chg="mod">
          <ac:chgData name="Peter De Tender" userId="b54b6209-5f27-411f-8c6b-6b5d6b548771" providerId="ADAL" clId="{1B7215C0-E1B8-49BE-B5AA-DE611573A2B6}" dt="2019-08-19T20:22:43.051" v="2300" actId="208"/>
          <ac:picMkLst>
            <pc:docMk/>
            <pc:sldMk cId="250603636" sldId="4539"/>
            <ac:picMk id="4" creationId="{1F4DC121-4AA0-457E-805E-55949F77F0A3}"/>
          </ac:picMkLst>
        </pc:picChg>
      </pc:sldChg>
      <pc:sldChg chg="modSp">
        <pc:chgData name="Peter De Tender" userId="b54b6209-5f27-411f-8c6b-6b5d6b548771" providerId="ADAL" clId="{1B7215C0-E1B8-49BE-B5AA-DE611573A2B6}" dt="2019-08-19T19:34:54.618" v="2041" actId="255"/>
        <pc:sldMkLst>
          <pc:docMk/>
          <pc:sldMk cId="3014044191" sldId="4570"/>
        </pc:sldMkLst>
        <pc:spChg chg="mod">
          <ac:chgData name="Peter De Tender" userId="b54b6209-5f27-411f-8c6b-6b5d6b548771" providerId="ADAL" clId="{1B7215C0-E1B8-49BE-B5AA-DE611573A2B6}" dt="2019-08-19T19:34:54.618" v="2041" actId="255"/>
          <ac:spMkLst>
            <pc:docMk/>
            <pc:sldMk cId="3014044191" sldId="4570"/>
            <ac:spMk id="2" creationId="{0BBCFEC1-6B36-4C83-9E5F-C7FFC5BBFD10}"/>
          </ac:spMkLst>
        </pc:spChg>
        <pc:spChg chg="mod">
          <ac:chgData name="Peter De Tender" userId="b54b6209-5f27-411f-8c6b-6b5d6b548771" providerId="ADAL" clId="{1B7215C0-E1B8-49BE-B5AA-DE611573A2B6}" dt="2019-08-19T18:50:20.552" v="550" actId="1076"/>
          <ac:spMkLst>
            <pc:docMk/>
            <pc:sldMk cId="3014044191" sldId="4570"/>
            <ac:spMk id="5" creationId="{411B7B41-7350-4B5B-902C-EF809CA7EFAB}"/>
          </ac:spMkLst>
        </pc:spChg>
        <pc:spChg chg="mod">
          <ac:chgData name="Peter De Tender" userId="b54b6209-5f27-411f-8c6b-6b5d6b548771" providerId="ADAL" clId="{1B7215C0-E1B8-49BE-B5AA-DE611573A2B6}" dt="2019-08-19T18:50:40.965" v="557" actId="1076"/>
          <ac:spMkLst>
            <pc:docMk/>
            <pc:sldMk cId="3014044191" sldId="4570"/>
            <ac:spMk id="8" creationId="{F5FEEBC5-8405-46D8-B7C6-571ADA16BCC3}"/>
          </ac:spMkLst>
        </pc:spChg>
        <pc:spChg chg="mod">
          <ac:chgData name="Peter De Tender" userId="b54b6209-5f27-411f-8c6b-6b5d6b548771" providerId="ADAL" clId="{1B7215C0-E1B8-49BE-B5AA-DE611573A2B6}" dt="2019-08-19T18:50:57.497" v="564" actId="1076"/>
          <ac:spMkLst>
            <pc:docMk/>
            <pc:sldMk cId="3014044191" sldId="4570"/>
            <ac:spMk id="14" creationId="{65A6202C-BB75-446B-A89F-BE77C2DB293E}"/>
          </ac:spMkLst>
        </pc:spChg>
        <pc:spChg chg="mod">
          <ac:chgData name="Peter De Tender" userId="b54b6209-5f27-411f-8c6b-6b5d6b548771" providerId="ADAL" clId="{1B7215C0-E1B8-49BE-B5AA-DE611573A2B6}" dt="2019-08-19T18:51:24.508" v="591" actId="20577"/>
          <ac:spMkLst>
            <pc:docMk/>
            <pc:sldMk cId="3014044191" sldId="4570"/>
            <ac:spMk id="18" creationId="{16894F46-F8FC-4B03-B1E7-927BC9D07D8C}"/>
          </ac:spMkLst>
        </pc:spChg>
      </pc:sldChg>
      <pc:sldChg chg="add del">
        <pc:chgData name="Peter De Tender" userId="b54b6209-5f27-411f-8c6b-6b5d6b548771" providerId="ADAL" clId="{1B7215C0-E1B8-49BE-B5AA-DE611573A2B6}" dt="2019-08-19T18:48:53.708" v="489" actId="2696"/>
        <pc:sldMkLst>
          <pc:docMk/>
          <pc:sldMk cId="1234226067" sldId="4571"/>
        </pc:sldMkLst>
      </pc:sldChg>
      <pc:sldChg chg="addSp delSp modSp add modTransition">
        <pc:chgData name="Peter De Tender" userId="b54b6209-5f27-411f-8c6b-6b5d6b548771" providerId="ADAL" clId="{1B7215C0-E1B8-49BE-B5AA-DE611573A2B6}" dt="2019-08-19T19:33:31.670" v="2039" actId="1076"/>
        <pc:sldMkLst>
          <pc:docMk/>
          <pc:sldMk cId="1890755073" sldId="4571"/>
        </pc:sldMkLst>
        <pc:spChg chg="del">
          <ac:chgData name="Peter De Tender" userId="b54b6209-5f27-411f-8c6b-6b5d6b548771" providerId="ADAL" clId="{1B7215C0-E1B8-49BE-B5AA-DE611573A2B6}" dt="2019-08-19T19:20:00.222" v="1029"/>
          <ac:spMkLst>
            <pc:docMk/>
            <pc:sldMk cId="1890755073" sldId="4571"/>
            <ac:spMk id="2" creationId="{CABBBEE4-32D6-4DD1-AE9A-273D4FE62C15}"/>
          </ac:spMkLst>
        </pc:spChg>
        <pc:spChg chg="add mod">
          <ac:chgData name="Peter De Tender" userId="b54b6209-5f27-411f-8c6b-6b5d6b548771" providerId="ADAL" clId="{1B7215C0-E1B8-49BE-B5AA-DE611573A2B6}" dt="2019-08-19T19:20:19.121" v="1064" actId="20577"/>
          <ac:spMkLst>
            <pc:docMk/>
            <pc:sldMk cId="1890755073" sldId="4571"/>
            <ac:spMk id="3" creationId="{F829950A-1579-4016-A426-6176FCBA67F0}"/>
          </ac:spMkLst>
        </pc:spChg>
        <pc:spChg chg="add del mod">
          <ac:chgData name="Peter De Tender" userId="b54b6209-5f27-411f-8c6b-6b5d6b548771" providerId="ADAL" clId="{1B7215C0-E1B8-49BE-B5AA-DE611573A2B6}" dt="2019-08-19T19:20:34.799" v="1065"/>
          <ac:spMkLst>
            <pc:docMk/>
            <pc:sldMk cId="1890755073" sldId="4571"/>
            <ac:spMk id="4" creationId="{05A29ED5-D968-4E81-8D59-21A74539BD0E}"/>
          </ac:spMkLst>
        </pc:spChg>
        <pc:spChg chg="add mod">
          <ac:chgData name="Peter De Tender" userId="b54b6209-5f27-411f-8c6b-6b5d6b548771" providerId="ADAL" clId="{1B7215C0-E1B8-49BE-B5AA-DE611573A2B6}" dt="2019-08-19T19:23:24.654" v="1250" actId="207"/>
          <ac:spMkLst>
            <pc:docMk/>
            <pc:sldMk cId="1890755073" sldId="4571"/>
            <ac:spMk id="5" creationId="{20D8122A-A6D4-4BAC-B83F-251C2CF8639B}"/>
          </ac:spMkLst>
        </pc:spChg>
        <pc:spChg chg="add mod">
          <ac:chgData name="Peter De Tender" userId="b54b6209-5f27-411f-8c6b-6b5d6b548771" providerId="ADAL" clId="{1B7215C0-E1B8-49BE-B5AA-DE611573A2B6}" dt="2019-08-19T19:32:33.059" v="2033" actId="1076"/>
          <ac:spMkLst>
            <pc:docMk/>
            <pc:sldMk cId="1890755073" sldId="4571"/>
            <ac:spMk id="6" creationId="{79C33F1C-75C8-413D-A941-3AA072B358CC}"/>
          </ac:spMkLst>
        </pc:spChg>
        <pc:spChg chg="add mod">
          <ac:chgData name="Peter De Tender" userId="b54b6209-5f27-411f-8c6b-6b5d6b548771" providerId="ADAL" clId="{1B7215C0-E1B8-49BE-B5AA-DE611573A2B6}" dt="2019-08-19T19:32:33.059" v="2033" actId="1076"/>
          <ac:spMkLst>
            <pc:docMk/>
            <pc:sldMk cId="1890755073" sldId="4571"/>
            <ac:spMk id="7" creationId="{24BAE3C1-CF35-4DCC-9ADA-225D40D4581D}"/>
          </ac:spMkLst>
        </pc:spChg>
        <pc:spChg chg="add mod">
          <ac:chgData name="Peter De Tender" userId="b54b6209-5f27-411f-8c6b-6b5d6b548771" providerId="ADAL" clId="{1B7215C0-E1B8-49BE-B5AA-DE611573A2B6}" dt="2019-08-19T19:32:33.059" v="2033" actId="1076"/>
          <ac:spMkLst>
            <pc:docMk/>
            <pc:sldMk cId="1890755073" sldId="4571"/>
            <ac:spMk id="8" creationId="{8F1C684A-602B-454B-82EE-5AAEEB91DC68}"/>
          </ac:spMkLst>
        </pc:spChg>
        <pc:spChg chg="add mod">
          <ac:chgData name="Peter De Tender" userId="b54b6209-5f27-411f-8c6b-6b5d6b548771" providerId="ADAL" clId="{1B7215C0-E1B8-49BE-B5AA-DE611573A2B6}" dt="2019-08-19T19:32:33.059" v="2033" actId="1076"/>
          <ac:spMkLst>
            <pc:docMk/>
            <pc:sldMk cId="1890755073" sldId="4571"/>
            <ac:spMk id="9" creationId="{2825C741-1A5B-4B55-BF0A-23BA0A76F839}"/>
          </ac:spMkLst>
        </pc:spChg>
        <pc:spChg chg="add mod">
          <ac:chgData name="Peter De Tender" userId="b54b6209-5f27-411f-8c6b-6b5d6b548771" providerId="ADAL" clId="{1B7215C0-E1B8-49BE-B5AA-DE611573A2B6}" dt="2019-08-19T19:32:33.059" v="2033" actId="1076"/>
          <ac:spMkLst>
            <pc:docMk/>
            <pc:sldMk cId="1890755073" sldId="4571"/>
            <ac:spMk id="10" creationId="{7037F752-8EDC-48EE-97AA-5F7F60DD673B}"/>
          </ac:spMkLst>
        </pc:spChg>
        <pc:spChg chg="add mod">
          <ac:chgData name="Peter De Tender" userId="b54b6209-5f27-411f-8c6b-6b5d6b548771" providerId="ADAL" clId="{1B7215C0-E1B8-49BE-B5AA-DE611573A2B6}" dt="2019-08-19T19:32:33.059" v="2033" actId="1076"/>
          <ac:spMkLst>
            <pc:docMk/>
            <pc:sldMk cId="1890755073" sldId="4571"/>
            <ac:spMk id="11" creationId="{B51EECA9-EF91-4142-9FA9-6A50E7AF526B}"/>
          </ac:spMkLst>
        </pc:spChg>
        <pc:picChg chg="add mod">
          <ac:chgData name="Peter De Tender" userId="b54b6209-5f27-411f-8c6b-6b5d6b548771" providerId="ADAL" clId="{1B7215C0-E1B8-49BE-B5AA-DE611573A2B6}" dt="2019-08-19T19:33:31.670" v="2039" actId="1076"/>
          <ac:picMkLst>
            <pc:docMk/>
            <pc:sldMk cId="1890755073" sldId="4571"/>
            <ac:picMk id="13" creationId="{C068B522-E18C-42FE-9F18-1A77D0E74FEF}"/>
          </ac:picMkLst>
        </pc:picChg>
        <pc:picChg chg="add mod">
          <ac:chgData name="Peter De Tender" userId="b54b6209-5f27-411f-8c6b-6b5d6b548771" providerId="ADAL" clId="{1B7215C0-E1B8-49BE-B5AA-DE611573A2B6}" dt="2019-08-19T19:33:31.670" v="2039" actId="1076"/>
          <ac:picMkLst>
            <pc:docMk/>
            <pc:sldMk cId="1890755073" sldId="4571"/>
            <ac:picMk id="15" creationId="{F24C6A4A-28AB-49A3-8140-95158D844296}"/>
          </ac:picMkLst>
        </pc:picChg>
        <pc:picChg chg="add mod">
          <ac:chgData name="Peter De Tender" userId="b54b6209-5f27-411f-8c6b-6b5d6b548771" providerId="ADAL" clId="{1B7215C0-E1B8-49BE-B5AA-DE611573A2B6}" dt="2019-08-19T19:33:31.670" v="2039" actId="1076"/>
          <ac:picMkLst>
            <pc:docMk/>
            <pc:sldMk cId="1890755073" sldId="4571"/>
            <ac:picMk id="17" creationId="{F0FD2C91-6705-41A4-B7C8-15FEF431FC48}"/>
          </ac:picMkLst>
        </pc:picChg>
      </pc:sldChg>
      <pc:sldChg chg="modSp">
        <pc:chgData name="Peter De Tender" userId="b54b6209-5f27-411f-8c6b-6b5d6b548771" providerId="ADAL" clId="{1B7215C0-E1B8-49BE-B5AA-DE611573A2B6}" dt="2019-08-19T20:23:04.590" v="2301" actId="255"/>
        <pc:sldMkLst>
          <pc:docMk/>
          <pc:sldMk cId="3375846755" sldId="4572"/>
        </pc:sldMkLst>
        <pc:spChg chg="mod">
          <ac:chgData name="Peter De Tender" userId="b54b6209-5f27-411f-8c6b-6b5d6b548771" providerId="ADAL" clId="{1B7215C0-E1B8-49BE-B5AA-DE611573A2B6}" dt="2019-08-19T20:23:04.590" v="2301" actId="255"/>
          <ac:spMkLst>
            <pc:docMk/>
            <pc:sldMk cId="3375846755" sldId="4572"/>
            <ac:spMk id="2" creationId="{AFC314D8-22CC-40A2-8D09-E1F7B00F21A1}"/>
          </ac:spMkLst>
        </pc:spChg>
        <pc:picChg chg="mod">
          <ac:chgData name="Peter De Tender" userId="b54b6209-5f27-411f-8c6b-6b5d6b548771" providerId="ADAL" clId="{1B7215C0-E1B8-49BE-B5AA-DE611573A2B6}" dt="2019-08-19T20:05:43.214" v="2185" actId="1076"/>
          <ac:picMkLst>
            <pc:docMk/>
            <pc:sldMk cId="3375846755" sldId="4572"/>
            <ac:picMk id="4" creationId="{F258F128-D043-4D47-81B2-C05A4293BE61}"/>
          </ac:picMkLst>
        </pc:picChg>
      </pc:sldChg>
      <pc:sldChg chg="addSp delSp modSp add modTransition">
        <pc:chgData name="Peter De Tender" userId="b54b6209-5f27-411f-8c6b-6b5d6b548771" providerId="ADAL" clId="{1B7215C0-E1B8-49BE-B5AA-DE611573A2B6}" dt="2019-08-19T20:30:53.344" v="2417" actId="20577"/>
        <pc:sldMkLst>
          <pc:docMk/>
          <pc:sldMk cId="3711771547" sldId="4573"/>
        </pc:sldMkLst>
        <pc:spChg chg="del">
          <ac:chgData name="Peter De Tender" userId="b54b6209-5f27-411f-8c6b-6b5d6b548771" providerId="ADAL" clId="{1B7215C0-E1B8-49BE-B5AA-DE611573A2B6}" dt="2019-08-19T20:30:23.912" v="2347"/>
          <ac:spMkLst>
            <pc:docMk/>
            <pc:sldMk cId="3711771547" sldId="4573"/>
            <ac:spMk id="2" creationId="{2C0AFA67-8ACA-41EE-B067-9D1D45425DF3}"/>
          </ac:spMkLst>
        </pc:spChg>
        <pc:spChg chg="del">
          <ac:chgData name="Peter De Tender" userId="b54b6209-5f27-411f-8c6b-6b5d6b548771" providerId="ADAL" clId="{1B7215C0-E1B8-49BE-B5AA-DE611573A2B6}" dt="2019-08-19T20:30:23.912" v="2347"/>
          <ac:spMkLst>
            <pc:docMk/>
            <pc:sldMk cId="3711771547" sldId="4573"/>
            <ac:spMk id="3" creationId="{7A5C7CC5-701B-4BF9-AF36-2C413CE102E1}"/>
          </ac:spMkLst>
        </pc:spChg>
        <pc:spChg chg="add mod">
          <ac:chgData name="Peter De Tender" userId="b54b6209-5f27-411f-8c6b-6b5d6b548771" providerId="ADAL" clId="{1B7215C0-E1B8-49BE-B5AA-DE611573A2B6}" dt="2019-08-19T20:30:27.207" v="2351" actId="20577"/>
          <ac:spMkLst>
            <pc:docMk/>
            <pc:sldMk cId="3711771547" sldId="4573"/>
            <ac:spMk id="4" creationId="{AC6C863B-FC1C-404D-BFC1-538135A8DDCC}"/>
          </ac:spMkLst>
        </pc:spChg>
        <pc:spChg chg="add mod">
          <ac:chgData name="Peter De Tender" userId="b54b6209-5f27-411f-8c6b-6b5d6b548771" providerId="ADAL" clId="{1B7215C0-E1B8-49BE-B5AA-DE611573A2B6}" dt="2019-08-19T20:30:53.344" v="2417" actId="20577"/>
          <ac:spMkLst>
            <pc:docMk/>
            <pc:sldMk cId="3711771547" sldId="4573"/>
            <ac:spMk id="5" creationId="{25B6FF80-8F8E-4588-B1B7-EF822E49F33D}"/>
          </ac:spMkLst>
        </pc:spChg>
      </pc:sldChg>
      <pc:sldChg chg="modSp add ord">
        <pc:chgData name="Peter De Tender" userId="b54b6209-5f27-411f-8c6b-6b5d6b548771" providerId="ADAL" clId="{1B7215C0-E1B8-49BE-B5AA-DE611573A2B6}" dt="2019-08-19T20:45:01.386" v="2956"/>
        <pc:sldMkLst>
          <pc:docMk/>
          <pc:sldMk cId="1497790622" sldId="4574"/>
        </pc:sldMkLst>
        <pc:spChg chg="mod">
          <ac:chgData name="Peter De Tender" userId="b54b6209-5f27-411f-8c6b-6b5d6b548771" providerId="ADAL" clId="{1B7215C0-E1B8-49BE-B5AA-DE611573A2B6}" dt="2019-08-19T20:31:03.579" v="2422" actId="20577"/>
          <ac:spMkLst>
            <pc:docMk/>
            <pc:sldMk cId="1497790622" sldId="4574"/>
            <ac:spMk id="2" creationId="{AFDB3F67-100D-4F56-87A6-3D3D89B2407C}"/>
          </ac:spMkLst>
        </pc:spChg>
        <pc:spChg chg="mod">
          <ac:chgData name="Peter De Tender" userId="b54b6209-5f27-411f-8c6b-6b5d6b548771" providerId="ADAL" clId="{1B7215C0-E1B8-49BE-B5AA-DE611573A2B6}" dt="2019-08-19T20:31:14.785" v="2460" actId="20577"/>
          <ac:spMkLst>
            <pc:docMk/>
            <pc:sldMk cId="1497790622" sldId="4574"/>
            <ac:spMk id="3" creationId="{CD4E7680-6A84-47E9-A5DE-8FB293CA8D1D}"/>
          </ac:spMkLst>
        </pc:spChg>
      </pc:sldChg>
      <pc:sldChg chg="modSp add">
        <pc:chgData name="Peter De Tender" userId="b54b6209-5f27-411f-8c6b-6b5d6b548771" providerId="ADAL" clId="{1B7215C0-E1B8-49BE-B5AA-DE611573A2B6}" dt="2019-08-19T20:31:31.234" v="2492" actId="20577"/>
        <pc:sldMkLst>
          <pc:docMk/>
          <pc:sldMk cId="2011714181" sldId="4575"/>
        </pc:sldMkLst>
        <pc:spChg chg="mod">
          <ac:chgData name="Peter De Tender" userId="b54b6209-5f27-411f-8c6b-6b5d6b548771" providerId="ADAL" clId="{1B7215C0-E1B8-49BE-B5AA-DE611573A2B6}" dt="2019-08-19T20:31:31.234" v="2492" actId="20577"/>
          <ac:spMkLst>
            <pc:docMk/>
            <pc:sldMk cId="2011714181" sldId="4575"/>
            <ac:spMk id="3" creationId="{CD4E7680-6A84-47E9-A5DE-8FB293CA8D1D}"/>
          </ac:spMkLst>
        </pc:spChg>
      </pc:sldChg>
      <pc:sldChg chg="modSp">
        <pc:chgData name="Peter De Tender" userId="b54b6209-5f27-411f-8c6b-6b5d6b548771" providerId="ADAL" clId="{1B7215C0-E1B8-49BE-B5AA-DE611573A2B6}" dt="2019-08-19T20:32:52.948" v="2518" actId="20577"/>
        <pc:sldMkLst>
          <pc:docMk/>
          <pc:sldMk cId="1068413490" sldId="4576"/>
        </pc:sldMkLst>
        <pc:spChg chg="mod">
          <ac:chgData name="Peter De Tender" userId="b54b6209-5f27-411f-8c6b-6b5d6b548771" providerId="ADAL" clId="{1B7215C0-E1B8-49BE-B5AA-DE611573A2B6}" dt="2019-08-19T20:32:52.948" v="2518" actId="20577"/>
          <ac:spMkLst>
            <pc:docMk/>
            <pc:sldMk cId="1068413490" sldId="4576"/>
            <ac:spMk id="4" creationId="{0CD8665D-5A50-4F07-9D33-48CCD3FD74C7}"/>
          </ac:spMkLst>
        </pc:spChg>
      </pc:sldChg>
      <pc:sldChg chg="modSp">
        <pc:chgData name="Peter De Tender" userId="b54b6209-5f27-411f-8c6b-6b5d6b548771" providerId="ADAL" clId="{1B7215C0-E1B8-49BE-B5AA-DE611573A2B6}" dt="2019-08-19T20:33:12.799" v="2557" actId="20577"/>
        <pc:sldMkLst>
          <pc:docMk/>
          <pc:sldMk cId="469981021" sldId="4577"/>
        </pc:sldMkLst>
        <pc:spChg chg="mod">
          <ac:chgData name="Peter De Tender" userId="b54b6209-5f27-411f-8c6b-6b5d6b548771" providerId="ADAL" clId="{1B7215C0-E1B8-49BE-B5AA-DE611573A2B6}" dt="2019-08-19T20:33:12.799" v="2557" actId="20577"/>
          <ac:spMkLst>
            <pc:docMk/>
            <pc:sldMk cId="469981021" sldId="4577"/>
            <ac:spMk id="4" creationId="{0CD8665D-5A50-4F07-9D33-48CCD3FD74C7}"/>
          </ac:spMkLst>
        </pc:spChg>
      </pc:sldChg>
      <pc:sldChg chg="addSp delSp modSp add modTransition">
        <pc:chgData name="Peter De Tender" userId="b54b6209-5f27-411f-8c6b-6b5d6b548771" providerId="ADAL" clId="{1B7215C0-E1B8-49BE-B5AA-DE611573A2B6}" dt="2019-08-19T20:36:57.263" v="2707" actId="20577"/>
        <pc:sldMkLst>
          <pc:docMk/>
          <pc:sldMk cId="231210049" sldId="4578"/>
        </pc:sldMkLst>
        <pc:spChg chg="del">
          <ac:chgData name="Peter De Tender" userId="b54b6209-5f27-411f-8c6b-6b5d6b548771" providerId="ADAL" clId="{1B7215C0-E1B8-49BE-B5AA-DE611573A2B6}" dt="2019-08-19T20:35:10.698" v="2560"/>
          <ac:spMkLst>
            <pc:docMk/>
            <pc:sldMk cId="231210049" sldId="4578"/>
            <ac:spMk id="2" creationId="{229FD639-5124-41D0-8E9F-083FD3049EC6}"/>
          </ac:spMkLst>
        </pc:spChg>
        <pc:spChg chg="add mod">
          <ac:chgData name="Peter De Tender" userId="b54b6209-5f27-411f-8c6b-6b5d6b548771" providerId="ADAL" clId="{1B7215C0-E1B8-49BE-B5AA-DE611573A2B6}" dt="2019-08-19T20:35:25.121" v="2596" actId="20577"/>
          <ac:spMkLst>
            <pc:docMk/>
            <pc:sldMk cId="231210049" sldId="4578"/>
            <ac:spMk id="3" creationId="{E610E449-36C2-4544-AE0C-B28E01F646C2}"/>
          </ac:spMkLst>
        </pc:spChg>
        <pc:spChg chg="add mod">
          <ac:chgData name="Peter De Tender" userId="b54b6209-5f27-411f-8c6b-6b5d6b548771" providerId="ADAL" clId="{1B7215C0-E1B8-49BE-B5AA-DE611573A2B6}" dt="2019-08-19T20:36:57.263" v="2707" actId="20577"/>
          <ac:spMkLst>
            <pc:docMk/>
            <pc:sldMk cId="231210049" sldId="4578"/>
            <ac:spMk id="4" creationId="{A7667D57-DD4A-418E-9787-77D76C159F0F}"/>
          </ac:spMkLst>
        </pc:spChg>
      </pc:sldChg>
      <pc:sldChg chg="addSp modSp add">
        <pc:chgData name="Peter De Tender" userId="b54b6209-5f27-411f-8c6b-6b5d6b548771" providerId="ADAL" clId="{1B7215C0-E1B8-49BE-B5AA-DE611573A2B6}" dt="2019-08-19T20:38:51.049" v="2751" actId="12"/>
        <pc:sldMkLst>
          <pc:docMk/>
          <pc:sldMk cId="946024506" sldId="4579"/>
        </pc:sldMkLst>
        <pc:spChg chg="add mod">
          <ac:chgData name="Peter De Tender" userId="b54b6209-5f27-411f-8c6b-6b5d6b548771" providerId="ADAL" clId="{1B7215C0-E1B8-49BE-B5AA-DE611573A2B6}" dt="2019-08-19T20:38:12.278" v="2733" actId="207"/>
          <ac:spMkLst>
            <pc:docMk/>
            <pc:sldMk cId="946024506" sldId="4579"/>
            <ac:spMk id="2" creationId="{E64B8A7A-8A1A-4881-A0D3-2F120A179910}"/>
          </ac:spMkLst>
        </pc:spChg>
        <pc:spChg chg="mod">
          <ac:chgData name="Peter De Tender" userId="b54b6209-5f27-411f-8c6b-6b5d6b548771" providerId="ADAL" clId="{1B7215C0-E1B8-49BE-B5AA-DE611573A2B6}" dt="2019-08-19T20:38:00.817" v="2731" actId="14100"/>
          <ac:spMkLst>
            <pc:docMk/>
            <pc:sldMk cId="946024506" sldId="4579"/>
            <ac:spMk id="4" creationId="{A7667D57-DD4A-418E-9787-77D76C159F0F}"/>
          </ac:spMkLst>
        </pc:spChg>
        <pc:spChg chg="add mod">
          <ac:chgData name="Peter De Tender" userId="b54b6209-5f27-411f-8c6b-6b5d6b548771" providerId="ADAL" clId="{1B7215C0-E1B8-49BE-B5AA-DE611573A2B6}" dt="2019-08-19T20:38:51.049" v="2751" actId="12"/>
          <ac:spMkLst>
            <pc:docMk/>
            <pc:sldMk cId="946024506" sldId="4579"/>
            <ac:spMk id="5" creationId="{3999ED71-616E-46BF-A484-F4983242AF62}"/>
          </ac:spMkLst>
        </pc:spChg>
      </pc:sldChg>
      <pc:sldChg chg="addSp delSp modSp add">
        <pc:chgData name="Peter De Tender" userId="b54b6209-5f27-411f-8c6b-6b5d6b548771" providerId="ADAL" clId="{1B7215C0-E1B8-49BE-B5AA-DE611573A2B6}" dt="2019-08-19T20:40:58.104" v="2833" actId="1076"/>
        <pc:sldMkLst>
          <pc:docMk/>
          <pc:sldMk cId="3934136913" sldId="4580"/>
        </pc:sldMkLst>
        <pc:spChg chg="del">
          <ac:chgData name="Peter De Tender" userId="b54b6209-5f27-411f-8c6b-6b5d6b548771" providerId="ADAL" clId="{1B7215C0-E1B8-49BE-B5AA-DE611573A2B6}" dt="2019-08-19T20:39:54.023" v="2756" actId="478"/>
          <ac:spMkLst>
            <pc:docMk/>
            <pc:sldMk cId="3934136913" sldId="4580"/>
            <ac:spMk id="2" creationId="{E64B8A7A-8A1A-4881-A0D3-2F120A179910}"/>
          </ac:spMkLst>
        </pc:spChg>
        <pc:spChg chg="del">
          <ac:chgData name="Peter De Tender" userId="b54b6209-5f27-411f-8c6b-6b5d6b548771" providerId="ADAL" clId="{1B7215C0-E1B8-49BE-B5AA-DE611573A2B6}" dt="2019-08-19T20:39:47.369" v="2753" actId="478"/>
          <ac:spMkLst>
            <pc:docMk/>
            <pc:sldMk cId="3934136913" sldId="4580"/>
            <ac:spMk id="4" creationId="{A7667D57-DD4A-418E-9787-77D76C159F0F}"/>
          </ac:spMkLst>
        </pc:spChg>
        <pc:spChg chg="del">
          <ac:chgData name="Peter De Tender" userId="b54b6209-5f27-411f-8c6b-6b5d6b548771" providerId="ADAL" clId="{1B7215C0-E1B8-49BE-B5AA-DE611573A2B6}" dt="2019-08-19T20:39:52.597" v="2755" actId="478"/>
          <ac:spMkLst>
            <pc:docMk/>
            <pc:sldMk cId="3934136913" sldId="4580"/>
            <ac:spMk id="5" creationId="{3999ED71-616E-46BF-A484-F4983242AF62}"/>
          </ac:spMkLst>
        </pc:spChg>
        <pc:spChg chg="add del mod">
          <ac:chgData name="Peter De Tender" userId="b54b6209-5f27-411f-8c6b-6b5d6b548771" providerId="ADAL" clId="{1B7215C0-E1B8-49BE-B5AA-DE611573A2B6}" dt="2019-08-19T20:39:50.186" v="2754" actId="478"/>
          <ac:spMkLst>
            <pc:docMk/>
            <pc:sldMk cId="3934136913" sldId="4580"/>
            <ac:spMk id="7" creationId="{EED10931-5130-4CA3-9A22-EF1B07D1FE9B}"/>
          </ac:spMkLst>
        </pc:spChg>
        <pc:spChg chg="add mod">
          <ac:chgData name="Peter De Tender" userId="b54b6209-5f27-411f-8c6b-6b5d6b548771" providerId="ADAL" clId="{1B7215C0-E1B8-49BE-B5AA-DE611573A2B6}" dt="2019-08-19T20:40:28.413" v="2828" actId="20577"/>
          <ac:spMkLst>
            <pc:docMk/>
            <pc:sldMk cId="3934136913" sldId="4580"/>
            <ac:spMk id="8" creationId="{6971A6A7-03D8-4A7C-8521-77E0A5FCD962}"/>
          </ac:spMkLst>
        </pc:spChg>
        <pc:picChg chg="add mod">
          <ac:chgData name="Peter De Tender" userId="b54b6209-5f27-411f-8c6b-6b5d6b548771" providerId="ADAL" clId="{1B7215C0-E1B8-49BE-B5AA-DE611573A2B6}" dt="2019-08-19T20:40:58.104" v="2833" actId="1076"/>
          <ac:picMkLst>
            <pc:docMk/>
            <pc:sldMk cId="3934136913" sldId="4580"/>
            <ac:picMk id="3074" creationId="{C36D2003-9346-452D-9948-8A73F719CCBB}"/>
          </ac:picMkLst>
        </pc:picChg>
      </pc:sldChg>
      <pc:sldChg chg="addSp delSp modSp">
        <pc:chgData name="Peter De Tender" userId="b54b6209-5f27-411f-8c6b-6b5d6b548771" providerId="ADAL" clId="{1B7215C0-E1B8-49BE-B5AA-DE611573A2B6}" dt="2019-08-19T20:41:54.138" v="2869" actId="20577"/>
        <pc:sldMkLst>
          <pc:docMk/>
          <pc:sldMk cId="2974609063" sldId="4581"/>
        </pc:sldMkLst>
        <pc:spChg chg="mod">
          <ac:chgData name="Peter De Tender" userId="b54b6209-5f27-411f-8c6b-6b5d6b548771" providerId="ADAL" clId="{1B7215C0-E1B8-49BE-B5AA-DE611573A2B6}" dt="2019-08-19T20:41:54.138" v="2869" actId="20577"/>
          <ac:spMkLst>
            <pc:docMk/>
            <pc:sldMk cId="2974609063" sldId="4581"/>
            <ac:spMk id="8" creationId="{6971A6A7-03D8-4A7C-8521-77E0A5FCD962}"/>
          </ac:spMkLst>
        </pc:spChg>
        <pc:picChg chg="del mod">
          <ac:chgData name="Peter De Tender" userId="b54b6209-5f27-411f-8c6b-6b5d6b548771" providerId="ADAL" clId="{1B7215C0-E1B8-49BE-B5AA-DE611573A2B6}" dt="2019-08-19T20:41:37.106" v="2840" actId="478"/>
          <ac:picMkLst>
            <pc:docMk/>
            <pc:sldMk cId="2974609063" sldId="4581"/>
            <ac:picMk id="3074" creationId="{C36D2003-9346-452D-9948-8A73F719CCBB}"/>
          </ac:picMkLst>
        </pc:picChg>
        <pc:picChg chg="add mod">
          <ac:chgData name="Peter De Tender" userId="b54b6209-5f27-411f-8c6b-6b5d6b548771" providerId="ADAL" clId="{1B7215C0-E1B8-49BE-B5AA-DE611573A2B6}" dt="2019-08-19T20:41:43.239" v="2842" actId="208"/>
          <ac:picMkLst>
            <pc:docMk/>
            <pc:sldMk cId="2974609063" sldId="4581"/>
            <ac:picMk id="4098" creationId="{760AC23B-49DF-417C-995C-48EA1B099076}"/>
          </ac:picMkLst>
        </pc:picChg>
      </pc:sldChg>
      <pc:sldChg chg="addSp delSp modSp add">
        <pc:chgData name="Peter De Tender" userId="b54b6209-5f27-411f-8c6b-6b5d6b548771" providerId="ADAL" clId="{1B7215C0-E1B8-49BE-B5AA-DE611573A2B6}" dt="2019-08-19T20:43:22.225" v="2915" actId="20577"/>
        <pc:sldMkLst>
          <pc:docMk/>
          <pc:sldMk cId="4162779321" sldId="4582"/>
        </pc:sldMkLst>
        <pc:spChg chg="mod">
          <ac:chgData name="Peter De Tender" userId="b54b6209-5f27-411f-8c6b-6b5d6b548771" providerId="ADAL" clId="{1B7215C0-E1B8-49BE-B5AA-DE611573A2B6}" dt="2019-08-19T20:43:22.225" v="2915" actId="20577"/>
          <ac:spMkLst>
            <pc:docMk/>
            <pc:sldMk cId="4162779321" sldId="4582"/>
            <ac:spMk id="8" creationId="{6971A6A7-03D8-4A7C-8521-77E0A5FCD962}"/>
          </ac:spMkLst>
        </pc:spChg>
        <pc:picChg chg="del">
          <ac:chgData name="Peter De Tender" userId="b54b6209-5f27-411f-8c6b-6b5d6b548771" providerId="ADAL" clId="{1B7215C0-E1B8-49BE-B5AA-DE611573A2B6}" dt="2019-08-19T20:43:03.634" v="2891" actId="478"/>
          <ac:picMkLst>
            <pc:docMk/>
            <pc:sldMk cId="4162779321" sldId="4582"/>
            <ac:picMk id="4098" creationId="{760AC23B-49DF-417C-995C-48EA1B099076}"/>
          </ac:picMkLst>
        </pc:picChg>
        <pc:picChg chg="add mod">
          <ac:chgData name="Peter De Tender" userId="b54b6209-5f27-411f-8c6b-6b5d6b548771" providerId="ADAL" clId="{1B7215C0-E1B8-49BE-B5AA-DE611573A2B6}" dt="2019-08-19T20:43:08.525" v="2892" actId="14100"/>
          <ac:picMkLst>
            <pc:docMk/>
            <pc:sldMk cId="4162779321" sldId="4582"/>
            <ac:picMk id="6146" creationId="{8FAD5AC1-9394-4B23-B188-9F90789485A2}"/>
          </ac:picMkLst>
        </pc:picChg>
      </pc:sldChg>
      <pc:sldChg chg="add del">
        <pc:chgData name="Peter De Tender" userId="b54b6209-5f27-411f-8c6b-6b5d6b548771" providerId="ADAL" clId="{1B7215C0-E1B8-49BE-B5AA-DE611573A2B6}" dt="2019-08-19T20:43:31.117" v="2916" actId="2696"/>
        <pc:sldMkLst>
          <pc:docMk/>
          <pc:sldMk cId="1528742250" sldId="4583"/>
        </pc:sldMkLst>
      </pc:sldChg>
      <pc:sldChg chg="addSp delSp modSp add">
        <pc:chgData name="Peter De Tender" userId="b54b6209-5f27-411f-8c6b-6b5d6b548771" providerId="ADAL" clId="{1B7215C0-E1B8-49BE-B5AA-DE611573A2B6}" dt="2019-08-19T20:44:26.501" v="2955" actId="208"/>
        <pc:sldMkLst>
          <pc:docMk/>
          <pc:sldMk cId="2508961738" sldId="4583"/>
        </pc:sldMkLst>
        <pc:spChg chg="mod">
          <ac:chgData name="Peter De Tender" userId="b54b6209-5f27-411f-8c6b-6b5d6b548771" providerId="ADAL" clId="{1B7215C0-E1B8-49BE-B5AA-DE611573A2B6}" dt="2019-08-19T20:43:54.494" v="2948" actId="20577"/>
          <ac:spMkLst>
            <pc:docMk/>
            <pc:sldMk cId="2508961738" sldId="4583"/>
            <ac:spMk id="8" creationId="{6971A6A7-03D8-4A7C-8521-77E0A5FCD962}"/>
          </ac:spMkLst>
        </pc:spChg>
        <pc:picChg chg="del">
          <ac:chgData name="Peter De Tender" userId="b54b6209-5f27-411f-8c6b-6b5d6b548771" providerId="ADAL" clId="{1B7215C0-E1B8-49BE-B5AA-DE611573A2B6}" dt="2019-08-19T20:43:58.015" v="2949" actId="478"/>
          <ac:picMkLst>
            <pc:docMk/>
            <pc:sldMk cId="2508961738" sldId="4583"/>
            <ac:picMk id="6146" creationId="{8FAD5AC1-9394-4B23-B188-9F90789485A2}"/>
          </ac:picMkLst>
        </pc:picChg>
        <pc:picChg chg="add mod">
          <ac:chgData name="Peter De Tender" userId="b54b6209-5f27-411f-8c6b-6b5d6b548771" providerId="ADAL" clId="{1B7215C0-E1B8-49BE-B5AA-DE611573A2B6}" dt="2019-08-19T20:44:26.501" v="2955" actId="208"/>
          <ac:picMkLst>
            <pc:docMk/>
            <pc:sldMk cId="2508961738" sldId="4583"/>
            <ac:picMk id="7170" creationId="{57A50DE8-6AA2-4468-BC82-D61D10931D07}"/>
          </ac:picMkLst>
        </pc:picChg>
      </pc:sldChg>
      <pc:sldChg chg="modSp">
        <pc:chgData name="Peter De Tender" userId="b54b6209-5f27-411f-8c6b-6b5d6b548771" providerId="ADAL" clId="{1B7215C0-E1B8-49BE-B5AA-DE611573A2B6}" dt="2019-08-19T20:51:17.990" v="3512" actId="20577"/>
        <pc:sldMkLst>
          <pc:docMk/>
          <pc:sldMk cId="2429728121" sldId="4584"/>
        </pc:sldMkLst>
        <pc:spChg chg="mod">
          <ac:chgData name="Peter De Tender" userId="b54b6209-5f27-411f-8c6b-6b5d6b548771" providerId="ADAL" clId="{1B7215C0-E1B8-49BE-B5AA-DE611573A2B6}" dt="2019-08-19T20:48:24.224" v="2998" actId="20577"/>
          <ac:spMkLst>
            <pc:docMk/>
            <pc:sldMk cId="2429728121" sldId="4584"/>
            <ac:spMk id="3" creationId="{E610E449-36C2-4544-AE0C-B28E01F646C2}"/>
          </ac:spMkLst>
        </pc:spChg>
        <pc:spChg chg="mod">
          <ac:chgData name="Peter De Tender" userId="b54b6209-5f27-411f-8c6b-6b5d6b548771" providerId="ADAL" clId="{1B7215C0-E1B8-49BE-B5AA-DE611573A2B6}" dt="2019-08-19T20:51:17.990" v="3512" actId="20577"/>
          <ac:spMkLst>
            <pc:docMk/>
            <pc:sldMk cId="2429728121" sldId="4584"/>
            <ac:spMk id="4" creationId="{A7667D57-DD4A-418E-9787-77D76C159F0F}"/>
          </ac:spMkLst>
        </pc:spChg>
      </pc:sldChg>
      <pc:sldChg chg="add del">
        <pc:chgData name="Peter De Tender" userId="b54b6209-5f27-411f-8c6b-6b5d6b548771" providerId="ADAL" clId="{1B7215C0-E1B8-49BE-B5AA-DE611573A2B6}" dt="2019-08-19T20:48:01.407" v="2984" actId="2696"/>
        <pc:sldMkLst>
          <pc:docMk/>
          <pc:sldMk cId="3775151480" sldId="4584"/>
        </pc:sldMkLst>
      </pc:sldChg>
      <pc:sldChg chg="modSp del">
        <pc:chgData name="Peter De Tender" userId="b54b6209-5f27-411f-8c6b-6b5d6b548771" providerId="ADAL" clId="{1B7215C0-E1B8-49BE-B5AA-DE611573A2B6}" dt="2019-08-19T20:46:38.517" v="2981" actId="2696"/>
        <pc:sldMkLst>
          <pc:docMk/>
          <pc:sldMk cId="4252693961" sldId="4584"/>
        </pc:sldMkLst>
        <pc:spChg chg="mod">
          <ac:chgData name="Peter De Tender" userId="b54b6209-5f27-411f-8c6b-6b5d6b548771" providerId="ADAL" clId="{1B7215C0-E1B8-49BE-B5AA-DE611573A2B6}" dt="2019-08-19T20:45:26.505" v="2980" actId="20577"/>
          <ac:spMkLst>
            <pc:docMk/>
            <pc:sldMk cId="4252693961" sldId="4584"/>
            <ac:spMk id="4" creationId="{0CD8665D-5A50-4F07-9D33-48CCD3FD74C7}"/>
          </ac:spMkLst>
        </pc:spChg>
      </pc:sldChg>
      <pc:sldChg chg="addSp modSp add">
        <pc:chgData name="Peter De Tender" userId="b54b6209-5f27-411f-8c6b-6b5d6b548771" providerId="ADAL" clId="{1B7215C0-E1B8-49BE-B5AA-DE611573A2B6}" dt="2019-08-19T20:54:23.733" v="3639" actId="1076"/>
        <pc:sldMkLst>
          <pc:docMk/>
          <pc:sldMk cId="3434517743" sldId="4585"/>
        </pc:sldMkLst>
        <pc:spChg chg="mod">
          <ac:chgData name="Peter De Tender" userId="b54b6209-5f27-411f-8c6b-6b5d6b548771" providerId="ADAL" clId="{1B7215C0-E1B8-49BE-B5AA-DE611573A2B6}" dt="2019-08-19T20:54:05.604" v="3635" actId="20577"/>
          <ac:spMkLst>
            <pc:docMk/>
            <pc:sldMk cId="3434517743" sldId="4585"/>
            <ac:spMk id="4" creationId="{A7667D57-DD4A-418E-9787-77D76C159F0F}"/>
          </ac:spMkLst>
        </pc:spChg>
        <pc:picChg chg="add mod">
          <ac:chgData name="Peter De Tender" userId="b54b6209-5f27-411f-8c6b-6b5d6b548771" providerId="ADAL" clId="{1B7215C0-E1B8-49BE-B5AA-DE611573A2B6}" dt="2019-08-19T20:54:23.733" v="3639" actId="1076"/>
          <ac:picMkLst>
            <pc:docMk/>
            <pc:sldMk cId="3434517743" sldId="4585"/>
            <ac:picMk id="8194" creationId="{34451406-2206-4C94-89F0-551C27F1F902}"/>
          </ac:picMkLst>
        </pc:picChg>
      </pc:sldChg>
      <pc:sldChg chg="addSp delSp modSp add">
        <pc:chgData name="Peter De Tender" userId="b54b6209-5f27-411f-8c6b-6b5d6b548771" providerId="ADAL" clId="{1B7215C0-E1B8-49BE-B5AA-DE611573A2B6}" dt="2019-08-19T20:58:06.049" v="3941" actId="20577"/>
        <pc:sldMkLst>
          <pc:docMk/>
          <pc:sldMk cId="2860189646" sldId="4586"/>
        </pc:sldMkLst>
        <pc:spChg chg="mod">
          <ac:chgData name="Peter De Tender" userId="b54b6209-5f27-411f-8c6b-6b5d6b548771" providerId="ADAL" clId="{1B7215C0-E1B8-49BE-B5AA-DE611573A2B6}" dt="2019-08-19T20:58:06.049" v="3941" actId="20577"/>
          <ac:spMkLst>
            <pc:docMk/>
            <pc:sldMk cId="2860189646" sldId="4586"/>
            <ac:spMk id="4" creationId="{A7667D57-DD4A-418E-9787-77D76C159F0F}"/>
          </ac:spMkLst>
        </pc:spChg>
        <pc:picChg chg="add mod">
          <ac:chgData name="Peter De Tender" userId="b54b6209-5f27-411f-8c6b-6b5d6b548771" providerId="ADAL" clId="{1B7215C0-E1B8-49BE-B5AA-DE611573A2B6}" dt="2019-08-19T20:58:01.568" v="3940" actId="208"/>
          <ac:picMkLst>
            <pc:docMk/>
            <pc:sldMk cId="2860189646" sldId="4586"/>
            <ac:picMk id="2" creationId="{948AA774-1C68-4E7E-91B6-12D78FC062F9}"/>
          </ac:picMkLst>
        </pc:picChg>
        <pc:picChg chg="del">
          <ac:chgData name="Peter De Tender" userId="b54b6209-5f27-411f-8c6b-6b5d6b548771" providerId="ADAL" clId="{1B7215C0-E1B8-49BE-B5AA-DE611573A2B6}" dt="2019-08-19T20:54:56.231" v="3694" actId="478"/>
          <ac:picMkLst>
            <pc:docMk/>
            <pc:sldMk cId="2860189646" sldId="4586"/>
            <ac:picMk id="8194" creationId="{34451406-2206-4C94-89F0-551C27F1F902}"/>
          </ac:picMkLst>
        </pc:picChg>
      </pc:sldChg>
      <pc:sldMasterChg chg="delSldLayout">
        <pc:chgData name="Peter De Tender" userId="b54b6209-5f27-411f-8c6b-6b5d6b548771" providerId="ADAL" clId="{1B7215C0-E1B8-49BE-B5AA-DE611573A2B6}" dt="2019-08-19T18:36:45.929" v="93" actId="2696"/>
        <pc:sldMasterMkLst>
          <pc:docMk/>
          <pc:sldMasterMk cId="4266282189" sldId="2147484731"/>
        </pc:sldMasterMkLst>
        <pc:sldLayoutChg chg="del">
          <pc:chgData name="Peter De Tender" userId="b54b6209-5f27-411f-8c6b-6b5d6b548771" providerId="ADAL" clId="{1B7215C0-E1B8-49BE-B5AA-DE611573A2B6}" dt="2019-08-19T18:36:45.929" v="93" actId="2696"/>
          <pc:sldLayoutMkLst>
            <pc:docMk/>
            <pc:sldMasterMk cId="4266282189" sldId="2147484731"/>
            <pc:sldLayoutMk cId="366778981" sldId="2147484765"/>
          </pc:sldLayoutMkLst>
        </pc:sldLayoutChg>
        <pc:sldLayoutChg chg="del">
          <pc:chgData name="Peter De Tender" userId="b54b6209-5f27-411f-8c6b-6b5d6b548771" providerId="ADAL" clId="{1B7215C0-E1B8-49BE-B5AA-DE611573A2B6}" dt="2019-08-19T18:36:45.815" v="86" actId="2696"/>
          <pc:sldLayoutMkLst>
            <pc:docMk/>
            <pc:sldMasterMk cId="4266282189" sldId="2147484731"/>
            <pc:sldLayoutMk cId="4093156651" sldId="2147484805"/>
          </pc:sldLayoutMkLst>
        </pc:sldLayoutChg>
        <pc:sldLayoutChg chg="del">
          <pc:chgData name="Peter De Tender" userId="b54b6209-5f27-411f-8c6b-6b5d6b548771" providerId="ADAL" clId="{1B7215C0-E1B8-49BE-B5AA-DE611573A2B6}" dt="2019-08-19T18:36:45.895" v="91" actId="2696"/>
          <pc:sldLayoutMkLst>
            <pc:docMk/>
            <pc:sldMasterMk cId="4266282189" sldId="2147484731"/>
            <pc:sldLayoutMk cId="3139960126" sldId="2147484807"/>
          </pc:sldLayoutMkLst>
        </pc:sldLayoutChg>
        <pc:sldLayoutChg chg="del">
          <pc:chgData name="Peter De Tender" userId="b54b6209-5f27-411f-8c6b-6b5d6b548771" providerId="ADAL" clId="{1B7215C0-E1B8-49BE-B5AA-DE611573A2B6}" dt="2019-08-19T18:36:45.859" v="89" actId="2696"/>
          <pc:sldLayoutMkLst>
            <pc:docMk/>
            <pc:sldMasterMk cId="4266282189" sldId="2147484731"/>
            <pc:sldLayoutMk cId="1507255656" sldId="2147484808"/>
          </pc:sldLayoutMkLst>
        </pc:sldLayoutChg>
      </pc:sldMasterChg>
      <pc:sldMasterChg chg="delSldLayout">
        <pc:chgData name="Peter De Tender" userId="b54b6209-5f27-411f-8c6b-6b5d6b548771" providerId="ADAL" clId="{1B7215C0-E1B8-49BE-B5AA-DE611573A2B6}" dt="2019-08-19T18:36:45.744" v="82" actId="2696"/>
        <pc:sldMasterMkLst>
          <pc:docMk/>
          <pc:sldMasterMk cId="2756756890" sldId="2147484814"/>
        </pc:sldMasterMkLst>
        <pc:sldLayoutChg chg="del">
          <pc:chgData name="Peter De Tender" userId="b54b6209-5f27-411f-8c6b-6b5d6b548771" providerId="ADAL" clId="{1B7215C0-E1B8-49BE-B5AA-DE611573A2B6}" dt="2019-08-19T18:36:45.656" v="76" actId="2696"/>
          <pc:sldLayoutMkLst>
            <pc:docMk/>
            <pc:sldMasterMk cId="2756756890" sldId="2147484814"/>
            <pc:sldLayoutMk cId="788991739" sldId="2147484837"/>
          </pc:sldLayoutMkLst>
        </pc:sldLayoutChg>
        <pc:sldLayoutChg chg="del">
          <pc:chgData name="Peter De Tender" userId="b54b6209-5f27-411f-8c6b-6b5d6b548771" providerId="ADAL" clId="{1B7215C0-E1B8-49BE-B5AA-DE611573A2B6}" dt="2019-08-19T18:36:45.744" v="82" actId="2696"/>
          <pc:sldLayoutMkLst>
            <pc:docMk/>
            <pc:sldMasterMk cId="2756756890" sldId="2147484814"/>
            <pc:sldLayoutMk cId="1265582290" sldId="2147484840"/>
          </pc:sldLayoutMkLst>
        </pc:sldLayoutChg>
        <pc:sldLayoutChg chg="del">
          <pc:chgData name="Peter De Tender" userId="b54b6209-5f27-411f-8c6b-6b5d6b548771" providerId="ADAL" clId="{1B7215C0-E1B8-49BE-B5AA-DE611573A2B6}" dt="2019-08-19T18:36:45.709" v="80" actId="2696"/>
          <pc:sldLayoutMkLst>
            <pc:docMk/>
            <pc:sldMasterMk cId="2756756890" sldId="2147484814"/>
            <pc:sldLayoutMk cId="774831805" sldId="2147484855"/>
          </pc:sldLayoutMkLst>
        </pc:sldLayoutChg>
      </pc:sldMasterChg>
      <pc:sldMasterChg chg="delSldLayout">
        <pc:chgData name="Peter De Tender" userId="b54b6209-5f27-411f-8c6b-6b5d6b548771" providerId="ADAL" clId="{1B7215C0-E1B8-49BE-B5AA-DE611573A2B6}" dt="2019-08-19T19:35:18.692" v="2043" actId="2696"/>
        <pc:sldMasterMkLst>
          <pc:docMk/>
          <pc:sldMasterMk cId="3104966640" sldId="2147484862"/>
        </pc:sldMasterMkLst>
        <pc:sldLayoutChg chg="del">
          <pc:chgData name="Peter De Tender" userId="b54b6209-5f27-411f-8c6b-6b5d6b548771" providerId="ADAL" clId="{1B7215C0-E1B8-49BE-B5AA-DE611573A2B6}" dt="2019-08-19T19:35:18.692" v="2043" actId="2696"/>
          <pc:sldLayoutMkLst>
            <pc:docMk/>
            <pc:sldMasterMk cId="3104966640" sldId="2147484862"/>
            <pc:sldLayoutMk cId="74640174" sldId="2147484884"/>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8/19/2019 7:3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8/19/2019 7:3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log-analytics/log-analytics-agent-windows"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docs.microsoft.com/en-us/azure/monitoring/monitoring-service-map-configure#dependency-agent-downloads"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log-analytics/log-analytics-agent-windows"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docs.microsoft.com/en-us/azure/monitoring/monitoring-service-map-configure#dependency-agent-downloads"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45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1E81A3C1-B7E3-4056-8126-F3E042997AB2}"/>
              </a:ext>
            </a:extLst>
          </p:cNvPr>
          <p:cNvSpPr>
            <a:spLocks noGrp="1"/>
          </p:cNvSpPr>
          <p:nvPr>
            <p:ph type="body" idx="1"/>
          </p:nvPr>
        </p:nvSpPr>
        <p:spPr/>
        <p:txBody>
          <a:bodyPr/>
          <a:lstStyle/>
          <a:p>
            <a:r>
              <a:rPr lang="en-US" dirty="0"/>
              <a:t>Microsoft migration tools/services in action, aligned with the broader phases of the workload migration journey….Discover/Catalog/Assess </a:t>
            </a:r>
            <a:r>
              <a:rPr lang="en-US" dirty="0">
                <a:sym typeface="Wingdings" panose="05000000000000000000" pitchFamily="2" charset="2"/>
              </a:rPr>
              <a:t> move and then keep stuff optimized post the move, be it secure/managed and cost-optimized. </a:t>
            </a:r>
          </a:p>
          <a:p>
            <a:endParaRPr lang="en-US" dirty="0">
              <a:sym typeface="Wingdings" panose="05000000000000000000" pitchFamily="2" charset="2"/>
            </a:endParaRPr>
          </a:p>
          <a:p>
            <a:r>
              <a:rPr lang="en-US" dirty="0">
                <a:sym typeface="Wingdings" panose="05000000000000000000" pitchFamily="2" charset="2"/>
              </a:rPr>
              <a:t>We’d love your feedback on these terms…assessment </a:t>
            </a:r>
          </a:p>
          <a:p>
            <a:endParaRPr lang="en-US" dirty="0">
              <a:sym typeface="Wingdings" panose="05000000000000000000" pitchFamily="2" charset="2"/>
            </a:endParaRPr>
          </a:p>
          <a:p>
            <a:r>
              <a:rPr lang="en-US" dirty="0">
                <a:sym typeface="Wingdings" panose="05000000000000000000" pitchFamily="2" charset="2"/>
              </a:rPr>
              <a:t>While we have numerous MSFT tools, we are working to make this better on two fronts:  </a:t>
            </a:r>
          </a:p>
          <a:p>
            <a:pPr marL="228600" indent="-228600">
              <a:buAutoNum type="arabicParenR"/>
            </a:pPr>
            <a:r>
              <a:rPr lang="en-US" dirty="0">
                <a:sym typeface="Wingdings" panose="05000000000000000000" pitchFamily="2" charset="2"/>
              </a:rPr>
              <a:t>stitch together experiences so customers don’t see the seams as they work from one phase to another.  </a:t>
            </a:r>
          </a:p>
          <a:p>
            <a:pPr marL="228600" indent="-228600">
              <a:buAutoNum type="arabicParenR"/>
            </a:pPr>
            <a:r>
              <a:rPr lang="en-US" dirty="0">
                <a:sym typeface="Wingdings" panose="05000000000000000000" pitchFamily="2" charset="2"/>
              </a:rPr>
              <a:t>consistent naming taxonomy consistency.  Azure Migrate – its everything.  ASR -.</a:t>
            </a:r>
          </a:p>
          <a:p>
            <a:pPr marL="228600" indent="-228600">
              <a:buAutoNum type="arabicParenR"/>
            </a:pPr>
            <a:endParaRPr lang="en-US" dirty="0">
              <a:sym typeface="Wingdings" panose="05000000000000000000" pitchFamily="2" charset="2"/>
            </a:endParaRPr>
          </a:p>
          <a:p>
            <a:pPr marL="0" indent="0">
              <a:buNone/>
            </a:pPr>
            <a:r>
              <a:rPr lang="en-US" dirty="0">
                <a:sym typeface="Wingdings" panose="05000000000000000000" pitchFamily="2" charset="2"/>
              </a:rPr>
              <a:t>And then we have a bunch of great ISV tools that attach to each phase of the journey – we’re in many cases actively working to integrate our first party tools with these.  </a:t>
            </a:r>
          </a:p>
          <a:p>
            <a:endParaRPr lang="en-US" dirty="0">
              <a:sym typeface="Wingdings" panose="05000000000000000000" pitchFamily="2" charset="2"/>
            </a:endParaRPr>
          </a:p>
          <a:p>
            <a:r>
              <a:rPr lang="en-US" dirty="0">
                <a:sym typeface="Wingdings" panose="05000000000000000000" pitchFamily="2" charset="2"/>
              </a:rPr>
              <a:t> </a:t>
            </a:r>
          </a:p>
          <a:p>
            <a:endParaRPr lang="en-US" dirty="0">
              <a:sym typeface="Wingdings" panose="05000000000000000000" pitchFamily="2" charset="2"/>
            </a:endParaRPr>
          </a:p>
          <a:p>
            <a:r>
              <a:rPr lang="en-US" dirty="0"/>
              <a:t> </a:t>
            </a:r>
          </a:p>
          <a:p>
            <a:endParaRPr lang="en-IN" dirty="0"/>
          </a:p>
        </p:txBody>
      </p:sp>
    </p:spTree>
    <p:extLst>
      <p:ext uri="{BB962C8B-B14F-4D97-AF65-F5344CB8AC3E}">
        <p14:creationId xmlns:p14="http://schemas.microsoft.com/office/powerpoint/2010/main" val="3531320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ocial.technet.microsoft.com/wiki/contents/articles/17802.what-is-the-map-toolkit.aspx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7: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98563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7:4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9228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iming precision?</a:t>
            </a:r>
          </a:p>
          <a:p>
            <a:endParaRPr lang="en-US"/>
          </a:p>
          <a:p>
            <a:r>
              <a:rPr lang="en-US"/>
              <a:t>Hit ISV assessment tools upfront in the deck.  Using both in combina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4451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9/2019 7: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416804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Light" pitchFamily="34" charset="0"/>
                <a:ea typeface="+mn-ea"/>
                <a:cs typeface="+mn-cs"/>
              </a:rPr>
              <a:t>Service Map automatically discovers application components on Windows and Linux systems and maps the communication between services. With Service Map, you can view your servers in the way that you think of them: as interconnected systems that deliver critical services. Service Map shows connections between servers, processes, inbound and outbound connection latency, and ports across any TCP-connected architecture, with no configuration required other than the installation of an agent.</a:t>
            </a:r>
          </a:p>
          <a:p>
            <a:r>
              <a:rPr lang="en-US" sz="882" b="0" i="0" kern="1200" dirty="0">
                <a:solidFill>
                  <a:schemeClr val="tx1"/>
                </a:solidFill>
                <a:effectLst/>
                <a:latin typeface="Segoe UI Light" pitchFamily="34" charset="0"/>
                <a:ea typeface="+mn-ea"/>
                <a:cs typeface="+mn-cs"/>
              </a:rPr>
              <a:t>Azure Migrate and Azure Migrate v2 (currently in preview) use Service Map to enhance the reporting capabilities and dependencies across the environment.</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To use dependency visualization, you need to download and install agents on each on-premises machine that you want to analyze.</a:t>
            </a:r>
          </a:p>
          <a:p>
            <a:r>
              <a:rPr lang="en-US" sz="882" b="0" i="0" u="none" strike="noStrike" kern="1200" dirty="0">
                <a:solidFill>
                  <a:schemeClr val="tx1"/>
                </a:solidFill>
                <a:effectLst/>
                <a:latin typeface="Segoe UI Light" pitchFamily="34" charset="0"/>
                <a:ea typeface="+mn-ea"/>
                <a:cs typeface="+mn-cs"/>
                <a:hlinkClick r:id="rId3"/>
              </a:rPr>
              <a:t>Microsoft Monitoring agent (MMA)</a:t>
            </a:r>
            <a:r>
              <a:rPr lang="en-US" sz="882" b="0" i="0" kern="1200" dirty="0">
                <a:solidFill>
                  <a:schemeClr val="tx1"/>
                </a:solidFill>
                <a:effectLst/>
                <a:latin typeface="Segoe UI Light" pitchFamily="34" charset="0"/>
                <a:ea typeface="+mn-ea"/>
                <a:cs typeface="+mn-cs"/>
              </a:rPr>
              <a:t> needs to be installed on each machine.</a:t>
            </a:r>
          </a:p>
          <a:p>
            <a:r>
              <a:rPr lang="en-US" sz="882" b="0" i="0" kern="1200" dirty="0">
                <a:solidFill>
                  <a:schemeClr val="tx1"/>
                </a:solidFill>
                <a:effectLst/>
                <a:latin typeface="Segoe UI Light" pitchFamily="34" charset="0"/>
                <a:ea typeface="+mn-ea"/>
                <a:cs typeface="+mn-cs"/>
              </a:rPr>
              <a:t>The </a:t>
            </a:r>
            <a:r>
              <a:rPr lang="en-US" sz="882" b="0" i="0" u="none" strike="noStrike" kern="1200" dirty="0">
                <a:solidFill>
                  <a:schemeClr val="tx1"/>
                </a:solidFill>
                <a:effectLst/>
                <a:latin typeface="Segoe UI Light" pitchFamily="34" charset="0"/>
                <a:ea typeface="+mn-ea"/>
                <a:cs typeface="+mn-cs"/>
                <a:hlinkClick r:id="rId4"/>
              </a:rPr>
              <a:t>dependency agent</a:t>
            </a:r>
            <a:r>
              <a:rPr lang="en-US" sz="882" b="0" i="0" kern="1200" dirty="0">
                <a:solidFill>
                  <a:schemeClr val="tx1"/>
                </a:solidFill>
                <a:effectLst/>
                <a:latin typeface="Segoe UI Light" pitchFamily="34" charset="0"/>
                <a:ea typeface="+mn-ea"/>
                <a:cs typeface="+mn-cs"/>
              </a:rPr>
              <a:t> needs to be installed on each machine.</a:t>
            </a:r>
          </a:p>
          <a:p>
            <a:r>
              <a:rPr lang="en-US" sz="882" b="0" i="0" kern="1200" dirty="0">
                <a:solidFill>
                  <a:schemeClr val="tx1"/>
                </a:solidFill>
                <a:effectLst/>
                <a:latin typeface="Segoe UI Light" pitchFamily="34" charset="0"/>
                <a:ea typeface="+mn-ea"/>
                <a:cs typeface="+mn-cs"/>
              </a:rPr>
              <a:t>In addition, if you have machines with no internet connectivity, you need to download and install Log Analytics gateway on them.</a:t>
            </a:r>
          </a:p>
          <a:p>
            <a:endParaRPr lang="en-US" sz="882" b="0" i="0" kern="1200" dirty="0">
              <a:solidFill>
                <a:schemeClr val="tx1"/>
              </a:solidFill>
              <a:effectLst/>
              <a:latin typeface="Segoe UI Light" pitchFamily="34" charset="0"/>
              <a:ea typeface="+mn-ea"/>
              <a:cs typeface="+mn-cs"/>
            </a:endParaRPr>
          </a:p>
          <a:p>
            <a:endParaRPr lang="en-IN"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7:4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05860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9/2019 8:4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10812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effectLst/>
                <a:latin typeface="Segoe UI Light" pitchFamily="34" charset="0"/>
                <a:ea typeface="+mn-ea"/>
                <a:cs typeface="+mn-cs"/>
              </a:rPr>
              <a:t>✔️ Currently, you can only create an Azure Migrate project in West Central US or East US region. However, this does not impact your ability to plan your migration for a different target Azure location. The location of the migration project is used only to store the metadata discovered from the on-premises environment.</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For more information, you can see:</a:t>
            </a:r>
          </a:p>
          <a:p>
            <a:r>
              <a:rPr lang="en-US" sz="882" kern="1200" dirty="0">
                <a:solidFill>
                  <a:schemeClr val="tx1"/>
                </a:solidFill>
                <a:effectLst/>
                <a:latin typeface="Segoe UI Light" pitchFamily="34" charset="0"/>
                <a:ea typeface="+mn-ea"/>
                <a:cs typeface="+mn-cs"/>
              </a:rPr>
              <a:t>Create a project - https://docs.microsoft.com/en-us/azure/migrate/tutorial-assessment-vmware#create-a-project </a:t>
            </a:r>
          </a:p>
          <a:p>
            <a:r>
              <a:rPr lang="en-US" sz="882" kern="1200" dirty="0">
                <a:solidFill>
                  <a:schemeClr val="tx1"/>
                </a:solidFill>
                <a:effectLst/>
                <a:latin typeface="Segoe UI Light" pitchFamily="34" charset="0"/>
                <a:ea typeface="+mn-ea"/>
                <a:cs typeface="+mn-cs"/>
              </a:rPr>
              <a:t>Current limitations - https://docs.microsoft.com/en-us/azure/migrate/migrate-overview#current-limitation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82"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8: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901526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 Use the reference link for help troubleshooting readiness issues. For example, what to do if the disk count or disk size exceeds the limits. </a:t>
            </a:r>
          </a:p>
          <a:p>
            <a:r>
              <a:rPr lang="en-US" sz="882" kern="1200" dirty="0">
                <a:solidFill>
                  <a:schemeClr val="tx1"/>
                </a:solidFill>
                <a:effectLst/>
                <a:latin typeface="Segoe UI Light" pitchFamily="34" charset="0"/>
                <a:ea typeface="+mn-ea"/>
                <a:cs typeface="+mn-cs"/>
              </a:rPr>
              <a:t> </a:t>
            </a:r>
          </a:p>
          <a:p>
            <a:r>
              <a:rPr lang="en-US" sz="882" kern="1200" dirty="0">
                <a:solidFill>
                  <a:schemeClr val="tx1"/>
                </a:solidFill>
                <a:effectLst/>
                <a:latin typeface="Segoe UI Light" pitchFamily="34" charset="0"/>
                <a:ea typeface="+mn-ea"/>
                <a:cs typeface="+mn-cs"/>
              </a:rPr>
              <a:t>For more information, you can see:</a:t>
            </a:r>
          </a:p>
          <a:p>
            <a:r>
              <a:rPr lang="en-US" sz="882" kern="1200" dirty="0">
                <a:solidFill>
                  <a:schemeClr val="tx1"/>
                </a:solidFill>
                <a:effectLst/>
                <a:latin typeface="Segoe UI Light" pitchFamily="34" charset="0"/>
                <a:ea typeface="+mn-ea"/>
                <a:cs typeface="+mn-cs"/>
              </a:rPr>
              <a:t>Azure suitability analysis - https://docs.microsoft.com/en-us/azure/migrate/concepts-assessment-calculation#azure-suitability-analysis </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8: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4869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 The alternative to performance based sizing is </a:t>
            </a:r>
            <a:r>
              <a:rPr lang="en-US" sz="882" i="1" kern="1200" dirty="0">
                <a:solidFill>
                  <a:schemeClr val="tx1"/>
                </a:solidFill>
                <a:effectLst/>
                <a:latin typeface="Segoe UI Light" pitchFamily="34" charset="0"/>
                <a:ea typeface="+mn-ea"/>
                <a:cs typeface="+mn-cs"/>
              </a:rPr>
              <a:t>as</a:t>
            </a:r>
            <a:r>
              <a:rPr lang="en-US" sz="882" kern="1200" dirty="0">
                <a:solidFill>
                  <a:schemeClr val="tx1"/>
                </a:solidFill>
                <a:effectLst/>
                <a:latin typeface="Segoe UI Light" pitchFamily="34" charset="0"/>
                <a:ea typeface="+mn-ea"/>
                <a:cs typeface="+mn-cs"/>
              </a:rPr>
              <a:t> </a:t>
            </a:r>
            <a:r>
              <a:rPr lang="en-US" sz="882" i="1" kern="1200" dirty="0">
                <a:solidFill>
                  <a:schemeClr val="tx1"/>
                </a:solidFill>
                <a:effectLst/>
                <a:latin typeface="Segoe UI Light" pitchFamily="34" charset="0"/>
                <a:ea typeface="+mn-ea"/>
                <a:cs typeface="+mn-cs"/>
              </a:rPr>
              <a:t>on-premises </a:t>
            </a:r>
            <a:r>
              <a:rPr lang="en-US" sz="882" kern="1200" dirty="0">
                <a:solidFill>
                  <a:schemeClr val="tx1"/>
                </a:solidFill>
                <a:effectLst/>
                <a:latin typeface="Segoe UI Light" pitchFamily="34" charset="0"/>
                <a:ea typeface="+mn-ea"/>
                <a:cs typeface="+mn-cs"/>
              </a:rPr>
              <a:t>sizing. Azure Migrate allocates a VM SKU in Azure based on the size allocated on-premises. Similarly, for disk sizing, it looks at the Storage type and recommends the disk type accordingly. The default storage type is Premium disks. </a:t>
            </a:r>
          </a:p>
          <a:p>
            <a:r>
              <a:rPr lang="en-US" sz="882" kern="1200" dirty="0">
                <a:solidFill>
                  <a:schemeClr val="tx1"/>
                </a:solidFill>
                <a:effectLst/>
                <a:latin typeface="Segoe UI Light" pitchFamily="34" charset="0"/>
                <a:ea typeface="+mn-ea"/>
                <a:cs typeface="+mn-cs"/>
              </a:rPr>
              <a:t> </a:t>
            </a:r>
          </a:p>
          <a:p>
            <a:r>
              <a:rPr lang="en-US" sz="882" kern="1200" dirty="0">
                <a:solidFill>
                  <a:schemeClr val="tx1"/>
                </a:solidFill>
                <a:effectLst/>
                <a:latin typeface="Segoe UI Light" pitchFamily="34" charset="0"/>
                <a:ea typeface="+mn-ea"/>
                <a:cs typeface="+mn-cs"/>
              </a:rPr>
              <a:t>For more information, you can see:</a:t>
            </a:r>
          </a:p>
          <a:p>
            <a:r>
              <a:rPr lang="en-US" sz="882" kern="1200" dirty="0">
                <a:solidFill>
                  <a:schemeClr val="tx1"/>
                </a:solidFill>
                <a:effectLst/>
                <a:latin typeface="Segoe UI Light" pitchFamily="34" charset="0"/>
                <a:ea typeface="+mn-ea"/>
                <a:cs typeface="+mn-cs"/>
              </a:rPr>
              <a:t>Sizing - https://docs.microsoft.com/en-us/azure/migrate/concepts-assessment-calculation#sizing </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8: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0530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The Microsoft Cloud Adoption Framework for Azure enables an actionable cloud journey that rapidly delivers on the desired business outcome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There are three main stages of the Cloud Adoption Framework: Plan, Ready, and Adopt.</a:t>
            </a:r>
          </a:p>
          <a:p>
            <a:r>
              <a:rPr lang="en-US" sz="882" b="0" i="0" kern="1200" dirty="0">
                <a:solidFill>
                  <a:schemeClr val="tx1"/>
                </a:solidFill>
                <a:effectLst/>
                <a:latin typeface="Segoe UI Light" pitchFamily="34" charset="0"/>
                <a:ea typeface="+mn-ea"/>
                <a:cs typeface="+mn-cs"/>
              </a:rPr>
              <a:t>Some common migration and innovation triggers include:</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Preparation for new technical capabilitie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Adjust scale to meet market or geographic demand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Cost saving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Reduction in vendor or technical complexity</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Optimization of internal operation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Increased business agility</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Improvements to customer experiences or engagement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Transformation of products or service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Disruption of the market from new products or services</a:t>
            </a:r>
          </a:p>
          <a:p>
            <a:endParaRPr lang="en-IN"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9: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89938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 The cost estimation provided by Azure Migrate is for running the on-premises VMs as Azure Infrastructure as a service (IaaS) VMs. Azure Migrate does not consider any Platform as a service (PaaS) or Software as a service (SaaS) costs.</a:t>
            </a:r>
          </a:p>
          <a:p>
            <a:r>
              <a:rPr lang="en-US" sz="882" kern="1200" dirty="0">
                <a:solidFill>
                  <a:schemeClr val="tx1"/>
                </a:solidFill>
                <a:effectLst/>
                <a:latin typeface="Segoe UI Light" pitchFamily="34" charset="0"/>
                <a:ea typeface="+mn-ea"/>
                <a:cs typeface="+mn-cs"/>
              </a:rPr>
              <a:t> </a:t>
            </a:r>
          </a:p>
          <a:p>
            <a:r>
              <a:rPr lang="en-US" sz="882" kern="1200" dirty="0">
                <a:solidFill>
                  <a:schemeClr val="tx1"/>
                </a:solidFill>
                <a:effectLst/>
                <a:latin typeface="Segoe UI Light" pitchFamily="34" charset="0"/>
                <a:ea typeface="+mn-ea"/>
                <a:cs typeface="+mn-cs"/>
              </a:rPr>
              <a:t>For more information, you can see:</a:t>
            </a:r>
          </a:p>
          <a:p>
            <a:r>
              <a:rPr lang="en-US" sz="882" kern="1200" dirty="0">
                <a:solidFill>
                  <a:schemeClr val="tx1"/>
                </a:solidFill>
                <a:effectLst/>
                <a:latin typeface="Segoe UI Light" pitchFamily="34" charset="0"/>
                <a:ea typeface="+mn-ea"/>
                <a:cs typeface="+mn-cs"/>
              </a:rPr>
              <a:t>Monthly Cost Estimate - https://docs.microsoft.com/en-us/azure/migrate/tutorial-assessment-vmware#monthly-cost-estimate </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8:5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11538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Light" pitchFamily="34" charset="0"/>
                <a:ea typeface="+mn-ea"/>
                <a:cs typeface="+mn-cs"/>
              </a:rPr>
              <a:t>Service Map automatically discovers application components on Windows and Linux systems and maps the communication between services. With Service Map, you can view your servers in the way that you think of them: as interconnected systems that deliver critical services. Service Map shows connections between servers, processes, inbound and outbound connection latency, and ports across any TCP-connected architecture, with no configuration required other than the installation of an agent.</a:t>
            </a:r>
          </a:p>
          <a:p>
            <a:r>
              <a:rPr lang="en-US" sz="882" b="0" i="0" kern="1200" dirty="0">
                <a:solidFill>
                  <a:schemeClr val="tx1"/>
                </a:solidFill>
                <a:effectLst/>
                <a:latin typeface="Segoe UI Light" pitchFamily="34" charset="0"/>
                <a:ea typeface="+mn-ea"/>
                <a:cs typeface="+mn-cs"/>
              </a:rPr>
              <a:t>Azure Migrate and Azure Migrate v2 (currently in preview) use Service Map to enhance the reporting capabilities and dependencies across the environment.</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To use dependency visualization, you need to download and install agents on each on-premises machine that you want to analyze.</a:t>
            </a:r>
          </a:p>
          <a:p>
            <a:r>
              <a:rPr lang="en-US" sz="882" b="0" i="0" u="none" strike="noStrike" kern="1200" dirty="0">
                <a:solidFill>
                  <a:schemeClr val="tx1"/>
                </a:solidFill>
                <a:effectLst/>
                <a:latin typeface="Segoe UI Light" pitchFamily="34" charset="0"/>
                <a:ea typeface="+mn-ea"/>
                <a:cs typeface="+mn-cs"/>
                <a:hlinkClick r:id="rId3"/>
              </a:rPr>
              <a:t>Microsoft Monitoring agent (MMA)</a:t>
            </a:r>
            <a:r>
              <a:rPr lang="en-US" sz="882" b="0" i="0" kern="1200" dirty="0">
                <a:solidFill>
                  <a:schemeClr val="tx1"/>
                </a:solidFill>
                <a:effectLst/>
                <a:latin typeface="Segoe UI Light" pitchFamily="34" charset="0"/>
                <a:ea typeface="+mn-ea"/>
                <a:cs typeface="+mn-cs"/>
              </a:rPr>
              <a:t> needs to be installed on each machine.</a:t>
            </a:r>
          </a:p>
          <a:p>
            <a:r>
              <a:rPr lang="en-US" sz="882" b="0" i="0" kern="1200" dirty="0">
                <a:solidFill>
                  <a:schemeClr val="tx1"/>
                </a:solidFill>
                <a:effectLst/>
                <a:latin typeface="Segoe UI Light" pitchFamily="34" charset="0"/>
                <a:ea typeface="+mn-ea"/>
                <a:cs typeface="+mn-cs"/>
              </a:rPr>
              <a:t>The </a:t>
            </a:r>
            <a:r>
              <a:rPr lang="en-US" sz="882" b="0" i="0" u="none" strike="noStrike" kern="1200" dirty="0">
                <a:solidFill>
                  <a:schemeClr val="tx1"/>
                </a:solidFill>
                <a:effectLst/>
                <a:latin typeface="Segoe UI Light" pitchFamily="34" charset="0"/>
                <a:ea typeface="+mn-ea"/>
                <a:cs typeface="+mn-cs"/>
                <a:hlinkClick r:id="rId4"/>
              </a:rPr>
              <a:t>dependency agent</a:t>
            </a:r>
            <a:r>
              <a:rPr lang="en-US" sz="882" b="0" i="0" kern="1200" dirty="0">
                <a:solidFill>
                  <a:schemeClr val="tx1"/>
                </a:solidFill>
                <a:effectLst/>
                <a:latin typeface="Segoe UI Light" pitchFamily="34" charset="0"/>
                <a:ea typeface="+mn-ea"/>
                <a:cs typeface="+mn-cs"/>
              </a:rPr>
              <a:t> needs to be installed on each machine.</a:t>
            </a:r>
          </a:p>
          <a:p>
            <a:r>
              <a:rPr lang="en-US" sz="882" b="0" i="0" kern="1200" dirty="0">
                <a:solidFill>
                  <a:schemeClr val="tx1"/>
                </a:solidFill>
                <a:effectLst/>
                <a:latin typeface="Segoe UI Light" pitchFamily="34" charset="0"/>
                <a:ea typeface="+mn-ea"/>
                <a:cs typeface="+mn-cs"/>
              </a:rPr>
              <a:t>In addition, if you have machines with no internet connectivity, you need to download and install Log Analytics gateway on them.</a:t>
            </a:r>
          </a:p>
          <a:p>
            <a:endParaRPr lang="en-US" sz="882" b="0" i="0" kern="1200" dirty="0">
              <a:solidFill>
                <a:schemeClr val="tx1"/>
              </a:solidFill>
              <a:effectLst/>
              <a:latin typeface="Segoe UI Light" pitchFamily="34" charset="0"/>
              <a:ea typeface="+mn-ea"/>
              <a:cs typeface="+mn-cs"/>
            </a:endParaRPr>
          </a:p>
          <a:p>
            <a:endParaRPr lang="en-IN"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9:0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497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34690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ECFDC7D-F4BE-4668-920D-08874925A5D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7: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gradFill>
                  <a:gsLst>
                    <a:gs pos="0">
                      <a:srgbClr val="FFFFFF"/>
                    </a:gs>
                    <a:gs pos="100000">
                      <a:srgbClr val="FFFFFF"/>
                    </a:gs>
                  </a:gsLst>
                  <a:lin ang="5400000" scaled="0"/>
                </a:gradFill>
                <a:ea typeface="Segoe UI" pitchFamily="34" charset="0"/>
                <a:cs typeface="Segoe UI" pitchFamily="34" charset="0"/>
              </a:rPr>
              <a:t>Technical (e.g., Networking)  |  Process (e.g., DevOps)  |  People (e.g., cloud 101 skill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7870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ASSESS</a:t>
            </a:r>
          </a:p>
          <a:p>
            <a:r>
              <a:rPr lang="en-US" sz="882" kern="1200" dirty="0">
                <a:solidFill>
                  <a:schemeClr val="tx1"/>
                </a:solidFill>
                <a:effectLst/>
                <a:latin typeface="Segoe UI Light" pitchFamily="34" charset="0"/>
                <a:ea typeface="+mn-ea"/>
                <a:cs typeface="+mn-cs"/>
              </a:rPr>
              <a:t>The assessment phase is where your team will use a mixture of software tools and consultancy best practices to discover what applications can be migrated, what their current configurations are, the people within your customer that will be impacted by the migration, as well as identify the dependencies of the application. The output of your assessment will include a comprehensive plan for what to do with the application and the expectations on availability and functionality. </a:t>
            </a:r>
          </a:p>
          <a:p>
            <a:endParaRPr lang="en-US" sz="882" kern="1200" dirty="0">
              <a:solidFill>
                <a:schemeClr val="tx1"/>
              </a:solidFill>
              <a:effectLst/>
              <a:latin typeface="Segoe UI Light" pitchFamily="34" charset="0"/>
              <a:ea typeface="+mn-ea"/>
              <a:cs typeface="+mn-cs"/>
            </a:endParaRPr>
          </a:p>
          <a:p>
            <a:r>
              <a:rPr lang="en-US" dirty="0"/>
              <a:t>MIGRATE </a:t>
            </a:r>
          </a:p>
          <a:p>
            <a:r>
              <a:rPr lang="en-US" dirty="0"/>
              <a:t>The migration phase is when the recommendations in your assessment plan are put into place. The following steps are usually taken. </a:t>
            </a:r>
          </a:p>
          <a:p>
            <a:r>
              <a:rPr lang="en-US" dirty="0"/>
              <a:t>• Setup Azure subscriptions using best practices for security, connectivity, policies and general governance prior to migration to ensure your customers are using Azure correctly from the start. </a:t>
            </a:r>
          </a:p>
          <a:p>
            <a:r>
              <a:rPr lang="en-US" dirty="0"/>
              <a:t>• Perform the migration using the prescribed method identified in the assessment plan: rehost, retire, replace, rearchitect or retain. </a:t>
            </a:r>
          </a:p>
          <a:p>
            <a:r>
              <a:rPr lang="en-US" dirty="0"/>
              <a:t>• Evaluate and test to ensure the migrated application meets the criteria outlined in your assessment. </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OPTIMIZE</a:t>
            </a:r>
          </a:p>
          <a:p>
            <a:r>
              <a:rPr lang="en-US" sz="882" kern="1200" dirty="0">
                <a:solidFill>
                  <a:schemeClr val="tx1"/>
                </a:solidFill>
                <a:effectLst/>
                <a:latin typeface="Segoe UI Light" pitchFamily="34" charset="0"/>
                <a:ea typeface="+mn-ea"/>
                <a:cs typeface="+mn-cs"/>
              </a:rPr>
              <a:t>In the optimization phase, you will use Azure security and management resources to govern, secure, and monitor your cloud applications in Azure. This is also the time for you to look for opportunities to optimize spending. Common tasks at this stage are:</a:t>
            </a:r>
          </a:p>
          <a:p>
            <a:r>
              <a:rPr lang="en-US" sz="882" kern="1200" dirty="0">
                <a:solidFill>
                  <a:schemeClr val="tx1"/>
                </a:solidFill>
                <a:effectLst/>
                <a:latin typeface="Segoe UI Light" pitchFamily="34" charset="0"/>
                <a:ea typeface="+mn-ea"/>
                <a:cs typeface="+mn-cs"/>
              </a:rPr>
              <a:t>• Review Azure cost management to track spending and identify areas for cost savings.</a:t>
            </a:r>
          </a:p>
          <a:p>
            <a:r>
              <a:rPr lang="en-US" sz="882" kern="1200" dirty="0">
                <a:solidFill>
                  <a:schemeClr val="tx1"/>
                </a:solidFill>
                <a:effectLst/>
                <a:latin typeface="Segoe UI Light" pitchFamily="34" charset="0"/>
                <a:ea typeface="+mn-ea"/>
                <a:cs typeface="+mn-cs"/>
              </a:rPr>
              <a:t>• Evaluate migrated applications for opportunities to right size over provisioned virtual machines and services.</a:t>
            </a:r>
          </a:p>
          <a:p>
            <a:r>
              <a:rPr lang="en-US" sz="882" kern="1200" dirty="0">
                <a:solidFill>
                  <a:schemeClr val="tx1"/>
                </a:solidFill>
                <a:effectLst/>
                <a:latin typeface="Segoe UI Light" pitchFamily="34" charset="0"/>
                <a:ea typeface="+mn-ea"/>
                <a:cs typeface="+mn-cs"/>
              </a:rPr>
              <a:t>• Implement automation to resize or stop based on a utilization schedule.</a:t>
            </a:r>
          </a:p>
          <a:p>
            <a:r>
              <a:rPr lang="en-US" sz="882" kern="1200" dirty="0">
                <a:solidFill>
                  <a:schemeClr val="tx1"/>
                </a:solidFill>
                <a:effectLst/>
                <a:latin typeface="Segoe UI Light" pitchFamily="34" charset="0"/>
                <a:ea typeface="+mn-ea"/>
                <a:cs typeface="+mn-cs"/>
              </a:rPr>
              <a:t>• Identify applications that could benefit from optimization with platform as a service (PaaS) services or containers.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9: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1497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ASSESS</a:t>
            </a:r>
          </a:p>
          <a:p>
            <a:r>
              <a:rPr lang="en-US" sz="882" kern="1200" dirty="0">
                <a:solidFill>
                  <a:schemeClr val="tx1"/>
                </a:solidFill>
                <a:effectLst/>
                <a:latin typeface="Segoe UI Light" pitchFamily="34" charset="0"/>
                <a:ea typeface="+mn-ea"/>
                <a:cs typeface="+mn-cs"/>
              </a:rPr>
              <a:t>The assessment phase is where your team will use a mixture of software tools and consultancy best practices to discover what applications can be migrated, what their current configurations are, the people within your customer that will be impacted by the migration, as well as identify the dependencies of the application. The output of your assessment will include a comprehensive plan for what to do with the application and the expectations on availability and functionality. </a:t>
            </a:r>
          </a:p>
          <a:p>
            <a:endParaRPr lang="en-US" sz="882" kern="1200" dirty="0">
              <a:solidFill>
                <a:schemeClr val="tx1"/>
              </a:solidFill>
              <a:effectLst/>
              <a:latin typeface="Segoe UI Light" pitchFamily="34" charset="0"/>
              <a:ea typeface="+mn-ea"/>
              <a:cs typeface="+mn-cs"/>
            </a:endParaRPr>
          </a:p>
          <a:p>
            <a:r>
              <a:rPr lang="en-US" dirty="0"/>
              <a:t>MIGRATE </a:t>
            </a:r>
          </a:p>
          <a:p>
            <a:r>
              <a:rPr lang="en-US" dirty="0"/>
              <a:t>The migration phase is when the recommendations in your assessment plan are put into place. The following steps are usually taken. </a:t>
            </a:r>
          </a:p>
          <a:p>
            <a:r>
              <a:rPr lang="en-US" dirty="0"/>
              <a:t>• Setup Azure subscriptions using best practices for security, connectivity, policies and general governance prior to migration to ensure your customers are using Azure correctly from the start. </a:t>
            </a:r>
          </a:p>
          <a:p>
            <a:r>
              <a:rPr lang="en-US" dirty="0"/>
              <a:t>• Perform the migration using the prescribed method identified in the assessment plan: rehost, retire, replace, rearchitect or retain. </a:t>
            </a:r>
          </a:p>
          <a:p>
            <a:r>
              <a:rPr lang="en-US" dirty="0"/>
              <a:t>• Evaluate and test to ensure the migrated application meets the criteria outlined in your assessment. </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OPTIMIZE</a:t>
            </a:r>
          </a:p>
          <a:p>
            <a:r>
              <a:rPr lang="en-US" sz="882" kern="1200" dirty="0">
                <a:solidFill>
                  <a:schemeClr val="tx1"/>
                </a:solidFill>
                <a:effectLst/>
                <a:latin typeface="Segoe UI Light" pitchFamily="34" charset="0"/>
                <a:ea typeface="+mn-ea"/>
                <a:cs typeface="+mn-cs"/>
              </a:rPr>
              <a:t>In the optimization phase, you will use Azure security and management resources to govern, secure, and monitor your cloud applications in Azure. This is also the time for you to look for opportunities to optimize spending. Common tasks at this stage are:</a:t>
            </a:r>
          </a:p>
          <a:p>
            <a:r>
              <a:rPr lang="en-US" sz="882" kern="1200" dirty="0">
                <a:solidFill>
                  <a:schemeClr val="tx1"/>
                </a:solidFill>
                <a:effectLst/>
                <a:latin typeface="Segoe UI Light" pitchFamily="34" charset="0"/>
                <a:ea typeface="+mn-ea"/>
                <a:cs typeface="+mn-cs"/>
              </a:rPr>
              <a:t>• Review Azure cost management to track spending and identify areas for cost savings.</a:t>
            </a:r>
          </a:p>
          <a:p>
            <a:r>
              <a:rPr lang="en-US" sz="882" kern="1200" dirty="0">
                <a:solidFill>
                  <a:schemeClr val="tx1"/>
                </a:solidFill>
                <a:effectLst/>
                <a:latin typeface="Segoe UI Light" pitchFamily="34" charset="0"/>
                <a:ea typeface="+mn-ea"/>
                <a:cs typeface="+mn-cs"/>
              </a:rPr>
              <a:t>• Evaluate migrated applications for opportunities to right size over provisioned virtual machines and services.</a:t>
            </a:r>
          </a:p>
          <a:p>
            <a:r>
              <a:rPr lang="en-US" sz="882" kern="1200" dirty="0">
                <a:solidFill>
                  <a:schemeClr val="tx1"/>
                </a:solidFill>
                <a:effectLst/>
                <a:latin typeface="Segoe UI Light" pitchFamily="34" charset="0"/>
                <a:ea typeface="+mn-ea"/>
                <a:cs typeface="+mn-cs"/>
              </a:rPr>
              <a:t>• Implement automation to resize or stop based on a utilization schedule.</a:t>
            </a:r>
          </a:p>
          <a:p>
            <a:r>
              <a:rPr lang="en-US" sz="882" kern="1200" dirty="0">
                <a:solidFill>
                  <a:schemeClr val="tx1"/>
                </a:solidFill>
                <a:effectLst/>
                <a:latin typeface="Segoe UI Light" pitchFamily="34" charset="0"/>
                <a:ea typeface="+mn-ea"/>
                <a:cs typeface="+mn-cs"/>
              </a:rPr>
              <a:t>• Identify applications that could benefit from optimization with platform as a service (PaaS) services or containers.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9: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4442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ASSESS</a:t>
            </a:r>
          </a:p>
          <a:p>
            <a:r>
              <a:rPr lang="en-US" sz="882" kern="1200" dirty="0">
                <a:solidFill>
                  <a:schemeClr val="tx1"/>
                </a:solidFill>
                <a:effectLst/>
                <a:latin typeface="Segoe UI Light" pitchFamily="34" charset="0"/>
                <a:ea typeface="+mn-ea"/>
                <a:cs typeface="+mn-cs"/>
              </a:rPr>
              <a:t>The assessment phase is where your team will use a mixture of software tools and consultancy best practices to discover what applications can be migrated, what their current configurations are, the people within your customer that will be impacted by the migration, as well as identify the dependencies of the application. The output of your assessment will include a comprehensive plan for what to do with the application and the expectations on availability and functionality. </a:t>
            </a:r>
          </a:p>
          <a:p>
            <a:endParaRPr lang="en-US" sz="882" kern="1200" dirty="0">
              <a:solidFill>
                <a:schemeClr val="tx1"/>
              </a:solidFill>
              <a:effectLst/>
              <a:latin typeface="Segoe UI Light" pitchFamily="34" charset="0"/>
              <a:ea typeface="+mn-ea"/>
              <a:cs typeface="+mn-cs"/>
            </a:endParaRPr>
          </a:p>
          <a:p>
            <a:r>
              <a:rPr lang="en-US" dirty="0"/>
              <a:t>MIGRATE </a:t>
            </a:r>
          </a:p>
          <a:p>
            <a:r>
              <a:rPr lang="en-US" dirty="0"/>
              <a:t>The migration phase is when the recommendations in your assessment plan are put into place. The following steps are usually taken. </a:t>
            </a:r>
          </a:p>
          <a:p>
            <a:r>
              <a:rPr lang="en-US" dirty="0"/>
              <a:t>• Setup Azure subscriptions using best practices for security, connectivity, policies and general governance prior to migration to ensure your customers are using Azure correctly from the start. </a:t>
            </a:r>
          </a:p>
          <a:p>
            <a:r>
              <a:rPr lang="en-US" dirty="0"/>
              <a:t>• Perform the migration using the prescribed method identified in the assessment plan: rehost, retire, replace, rearchitect or retain. </a:t>
            </a:r>
          </a:p>
          <a:p>
            <a:r>
              <a:rPr lang="en-US" dirty="0"/>
              <a:t>• Evaluate and test to ensure the migrated application meets the criteria outlined in your assessment. </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OPTIMIZE</a:t>
            </a:r>
          </a:p>
          <a:p>
            <a:r>
              <a:rPr lang="en-US" sz="882" kern="1200" dirty="0">
                <a:solidFill>
                  <a:schemeClr val="tx1"/>
                </a:solidFill>
                <a:effectLst/>
                <a:latin typeface="Segoe UI Light" pitchFamily="34" charset="0"/>
                <a:ea typeface="+mn-ea"/>
                <a:cs typeface="+mn-cs"/>
              </a:rPr>
              <a:t>In the optimization phase, you will use Azure security and management resources to govern, secure, and monitor your cloud applications in Azure. This is also the time for you to look for opportunities to optimize spending. Common tasks at this stage are:</a:t>
            </a:r>
          </a:p>
          <a:p>
            <a:r>
              <a:rPr lang="en-US" sz="882" kern="1200" dirty="0">
                <a:solidFill>
                  <a:schemeClr val="tx1"/>
                </a:solidFill>
                <a:effectLst/>
                <a:latin typeface="Segoe UI Light" pitchFamily="34" charset="0"/>
                <a:ea typeface="+mn-ea"/>
                <a:cs typeface="+mn-cs"/>
              </a:rPr>
              <a:t>• Review Azure cost management to track spending and identify areas for cost savings.</a:t>
            </a:r>
          </a:p>
          <a:p>
            <a:r>
              <a:rPr lang="en-US" sz="882" kern="1200" dirty="0">
                <a:solidFill>
                  <a:schemeClr val="tx1"/>
                </a:solidFill>
                <a:effectLst/>
                <a:latin typeface="Segoe UI Light" pitchFamily="34" charset="0"/>
                <a:ea typeface="+mn-ea"/>
                <a:cs typeface="+mn-cs"/>
              </a:rPr>
              <a:t>• Evaluate migrated applications for opportunities to right size over provisioned virtual machines and services.</a:t>
            </a:r>
          </a:p>
          <a:p>
            <a:r>
              <a:rPr lang="en-US" sz="882" kern="1200" dirty="0">
                <a:solidFill>
                  <a:schemeClr val="tx1"/>
                </a:solidFill>
                <a:effectLst/>
                <a:latin typeface="Segoe UI Light" pitchFamily="34" charset="0"/>
                <a:ea typeface="+mn-ea"/>
                <a:cs typeface="+mn-cs"/>
              </a:rPr>
              <a:t>• Implement automation to resize or stop based on a utilization schedule.</a:t>
            </a:r>
          </a:p>
          <a:p>
            <a:r>
              <a:rPr lang="en-US" sz="882" kern="1200" dirty="0">
                <a:solidFill>
                  <a:schemeClr val="tx1"/>
                </a:solidFill>
                <a:effectLst/>
                <a:latin typeface="Segoe UI Light" pitchFamily="34" charset="0"/>
                <a:ea typeface="+mn-ea"/>
                <a:cs typeface="+mn-cs"/>
              </a:rPr>
              <a:t>• Identify applications that could benefit from optimization with platform as a service (PaaS) services or containers.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9/2019 9: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6444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pPr marL="0" lvl="0" indent="0">
              <a:buFont typeface="Arial" panose="020B0604020202020204" pitchFamily="34" charset="0"/>
              <a:buNone/>
            </a:pPr>
            <a:r>
              <a:rPr lang="en-US" sz="1200" b="1" kern="1200">
                <a:solidFill>
                  <a:schemeClr val="tx1"/>
                </a:solidFill>
                <a:effectLst/>
                <a:latin typeface="+mn-lt"/>
                <a:ea typeface="+mn-ea"/>
                <a:cs typeface="+mn-cs"/>
              </a:rPr>
              <a:t>Talking poin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Land vision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igration is a journey.  &lt;Click&gt; There is point A (i.e., on-premises source) and point B (i.e., Azure destination).  Workloads – i.e., applications, databases, data, servers – needs to move from A to B.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e are making key investments to help customers be successful with the move: </a:t>
            </a:r>
          </a:p>
          <a:p>
            <a:pPr marL="0" lvl="0" indent="0">
              <a:buFont typeface="Arial" panose="020B0604020202020204" pitchFamily="34" charset="0"/>
              <a:buNone/>
            </a:pPr>
            <a:r>
              <a:rPr lang="en-US" sz="1200" kern="1200">
                <a:solidFill>
                  <a:schemeClr val="tx1"/>
                </a:solidFill>
                <a:effectLst/>
                <a:latin typeface="+mn-lt"/>
                <a:ea typeface="+mn-ea"/>
                <a:cs typeface="+mn-cs"/>
              </a:rPr>
              <a:t>      &lt;Click&gt; Repeatable process &amp; tooling to added workload specific as well as wholesale datacenter migration.  Provide specific examples – e.g., we have tools to assess and move servers, tools to migrate data at      </a:t>
            </a:r>
          </a:p>
          <a:p>
            <a:pPr marL="0" lvl="0" indent="0">
              <a:buFont typeface="Arial" panose="020B0604020202020204" pitchFamily="34" charset="0"/>
              <a:buNone/>
            </a:pPr>
            <a:r>
              <a:rPr lang="en-US" sz="1200" kern="1200">
                <a:solidFill>
                  <a:schemeClr val="tx1"/>
                </a:solidFill>
                <a:effectLst/>
                <a:latin typeface="+mn-lt"/>
                <a:ea typeface="+mn-ea"/>
                <a:cs typeface="+mn-cs"/>
              </a:rPr>
              <a:t>                    large scale, tools to migrate databases at scale etc.  And we’re agnostic to 1</a:t>
            </a:r>
            <a:r>
              <a:rPr lang="en-US" sz="1200" kern="1200" baseline="30000">
                <a:solidFill>
                  <a:schemeClr val="tx1"/>
                </a:solidFill>
                <a:effectLst/>
                <a:latin typeface="+mn-lt"/>
                <a:ea typeface="+mn-ea"/>
                <a:cs typeface="+mn-cs"/>
              </a:rPr>
              <a:t>st</a:t>
            </a:r>
            <a:r>
              <a:rPr lang="en-US" sz="1200" kern="1200">
                <a:solidFill>
                  <a:schemeClr val="tx1"/>
                </a:solidFill>
                <a:effectLst/>
                <a:latin typeface="+mn-lt"/>
                <a:ea typeface="+mn-ea"/>
                <a:cs typeface="+mn-cs"/>
              </a:rPr>
              <a:t> party vs. 3</a:t>
            </a:r>
            <a:r>
              <a:rPr lang="en-US" sz="1200" kern="1200" baseline="30000">
                <a:solidFill>
                  <a:schemeClr val="tx1"/>
                </a:solidFill>
                <a:effectLst/>
                <a:latin typeface="+mn-lt"/>
                <a:ea typeface="+mn-ea"/>
                <a:cs typeface="+mn-cs"/>
              </a:rPr>
              <a:t>rd</a:t>
            </a:r>
            <a:r>
              <a:rPr lang="en-US" sz="1200" kern="1200">
                <a:solidFill>
                  <a:schemeClr val="tx1"/>
                </a:solidFill>
                <a:effectLst/>
                <a:latin typeface="+mn-lt"/>
                <a:ea typeface="+mn-ea"/>
                <a:cs typeface="+mn-cs"/>
              </a:rPr>
              <a:t> party tools.  Our goal is to get customers to Azure.</a:t>
            </a:r>
          </a:p>
          <a:p>
            <a:pPr marL="0" lvl="0" indent="0">
              <a:buFont typeface="Arial" panose="020B0604020202020204" pitchFamily="34" charset="0"/>
              <a:buNone/>
            </a:pPr>
            <a:r>
              <a:rPr lang="en-US" sz="1200" kern="1200">
                <a:solidFill>
                  <a:schemeClr val="tx1"/>
                </a:solidFill>
                <a:effectLst/>
                <a:latin typeface="+mn-lt"/>
                <a:ea typeface="+mn-ea"/>
                <a:cs typeface="+mn-cs"/>
              </a:rPr>
              <a:t>   </a:t>
            </a:r>
          </a:p>
          <a:p>
            <a:pPr marL="0" lvl="0" indent="0">
              <a:buFont typeface="Arial" panose="020B0604020202020204" pitchFamily="34" charset="0"/>
              <a:buNone/>
            </a:pPr>
            <a:r>
              <a:rPr lang="en-US" sz="1200" kern="1200">
                <a:solidFill>
                  <a:schemeClr val="tx1"/>
                </a:solidFill>
                <a:effectLst/>
                <a:latin typeface="+mn-lt"/>
                <a:ea typeface="+mn-ea"/>
                <a:cs typeface="+mn-cs"/>
              </a:rPr>
              <a:t>      &lt;Click&gt; DIY resources to help customers build their business case, have the right scenario guidance, and build the right cloud skills: TCO analysis, Azure migration center, Azure Essentials training</a:t>
            </a:r>
          </a:p>
          <a:p>
            <a:pPr marL="0" lvl="0" indent="0">
              <a:buFont typeface="Arial" panose="020B0604020202020204" pitchFamily="34" charse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      &lt;Click&gt; Assist models: Customer success programs like FastTrack/JumpStart along with a rich migration partner ecosystem </a:t>
            </a:r>
          </a:p>
          <a:p>
            <a:pPr defTabSz="914460" eaLnBrk="1" fontAlgn="auto" hangingPunct="1">
              <a:spcBef>
                <a:spcPts val="0"/>
              </a:spcBef>
              <a:spcAft>
                <a:spcPts val="333"/>
              </a:spcAft>
              <a:defRPr/>
            </a:pPr>
            <a:endParaRPr lang="en-US" sz="882">
              <a:ea typeface="+mn-ea"/>
              <a:cs typeface="+mn-cs"/>
            </a:endParaRPr>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91C0EED8-6039-430B-B6BE-F85B2AC973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8/19/2019 9:06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81800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You don’t have to be stuck in an all-or nothing choice – hybrid gives you the flexibility to move to the cloud when and how you want to. </a:t>
            </a: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7660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line offer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01BB6D-13A4-4B3A-875A-60BA7F511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8312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13.emf"/><Relationship Id="rId3" Type="http://schemas.openxmlformats.org/officeDocument/2006/relationships/image" Target="../media/image3.emf"/><Relationship Id="rId7" Type="http://schemas.openxmlformats.org/officeDocument/2006/relationships/image" Target="../media/image7.emf"/><Relationship Id="rId12" Type="http://schemas.openxmlformats.org/officeDocument/2006/relationships/image" Target="../media/image12.emf"/><Relationship Id="rId2" Type="http://schemas.openxmlformats.org/officeDocument/2006/relationships/image" Target="../media/image2.emf"/><Relationship Id="rId1" Type="http://schemas.openxmlformats.org/officeDocument/2006/relationships/slideMaster" Target="../slideMasters/slideMaster5.xml"/><Relationship Id="rId6" Type="http://schemas.openxmlformats.org/officeDocument/2006/relationships/image" Target="../media/image6.emf"/><Relationship Id="rId11" Type="http://schemas.openxmlformats.org/officeDocument/2006/relationships/image" Target="../media/image11.emf"/><Relationship Id="rId5" Type="http://schemas.openxmlformats.org/officeDocument/2006/relationships/image" Target="../media/image5.emf"/><Relationship Id="rId10" Type="http://schemas.openxmlformats.org/officeDocument/2006/relationships/image" Target="../media/image10.emf"/><Relationship Id="rId4" Type="http://schemas.openxmlformats.org/officeDocument/2006/relationships/image" Target="../media/image4.emf"/><Relationship Id="rId9" Type="http://schemas.openxmlformats.org/officeDocument/2006/relationships/image" Target="../media/image9.emf"/><Relationship Id="rId14" Type="http://schemas.openxmlformats.org/officeDocument/2006/relationships/image" Target="../media/image14.emf"/></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17.jp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Master" Target="../slideMasters/slideMaster5.xml"/><Relationship Id="rId4" Type="http://schemas.openxmlformats.org/officeDocument/2006/relationships/image" Target="../media/image21.jp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Master" Target="../slideMasters/slideMaster1.xml"/><Relationship Id="rId4" Type="http://schemas.openxmlformats.org/officeDocument/2006/relationships/image" Target="../media/image21.jp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6.xml"/><Relationship Id="rId4" Type="http://schemas.openxmlformats.org/officeDocument/2006/relationships/tags" Target="../tags/tag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Master" Target="../slideMasters/slideMaster6.xml"/><Relationship Id="rId4" Type="http://schemas.openxmlformats.org/officeDocument/2006/relationships/image" Target="../media/image37.jp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13.emf"/><Relationship Id="rId3" Type="http://schemas.openxmlformats.org/officeDocument/2006/relationships/image" Target="../media/image3.emf"/><Relationship Id="rId7" Type="http://schemas.openxmlformats.org/officeDocument/2006/relationships/image" Target="../media/image7.emf"/><Relationship Id="rId12" Type="http://schemas.openxmlformats.org/officeDocument/2006/relationships/image" Target="../media/image12.emf"/><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6.emf"/><Relationship Id="rId11" Type="http://schemas.openxmlformats.org/officeDocument/2006/relationships/image" Target="../media/image11.emf"/><Relationship Id="rId5" Type="http://schemas.openxmlformats.org/officeDocument/2006/relationships/image" Target="../media/image5.emf"/><Relationship Id="rId10" Type="http://schemas.openxmlformats.org/officeDocument/2006/relationships/image" Target="../media/image10.emf"/><Relationship Id="rId4" Type="http://schemas.openxmlformats.org/officeDocument/2006/relationships/image" Target="../media/image4.emf"/><Relationship Id="rId9" Type="http://schemas.openxmlformats.org/officeDocument/2006/relationships/image" Target="../media/image9.emf"/><Relationship Id="rId14" Type="http://schemas.openxmlformats.org/officeDocument/2006/relationships/image" Target="../media/image1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13.emf"/><Relationship Id="rId3" Type="http://schemas.openxmlformats.org/officeDocument/2006/relationships/image" Target="../media/image3.emf"/><Relationship Id="rId7" Type="http://schemas.openxmlformats.org/officeDocument/2006/relationships/image" Target="../media/image7.emf"/><Relationship Id="rId12" Type="http://schemas.openxmlformats.org/officeDocument/2006/relationships/image" Target="../media/image12.emf"/><Relationship Id="rId2" Type="http://schemas.openxmlformats.org/officeDocument/2006/relationships/image" Target="../media/image2.emf"/><Relationship Id="rId1" Type="http://schemas.openxmlformats.org/officeDocument/2006/relationships/slideMaster" Target="../slideMasters/slideMaster3.xml"/><Relationship Id="rId6" Type="http://schemas.openxmlformats.org/officeDocument/2006/relationships/image" Target="../media/image6.emf"/><Relationship Id="rId11" Type="http://schemas.openxmlformats.org/officeDocument/2006/relationships/image" Target="../media/image11.emf"/><Relationship Id="rId5" Type="http://schemas.openxmlformats.org/officeDocument/2006/relationships/image" Target="../media/image5.emf"/><Relationship Id="rId10" Type="http://schemas.openxmlformats.org/officeDocument/2006/relationships/image" Target="../media/image10.emf"/><Relationship Id="rId4" Type="http://schemas.openxmlformats.org/officeDocument/2006/relationships/image" Target="../media/image4.emf"/><Relationship Id="rId9" Type="http://schemas.openxmlformats.org/officeDocument/2006/relationships/image" Target="../media/image9.emf"/><Relationship Id="rId14" Type="http://schemas.openxmlformats.org/officeDocument/2006/relationships/image" Target="../media/image14.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3.xml"/><Relationship Id="rId4" Type="http://schemas.openxmlformats.org/officeDocument/2006/relationships/image" Target="../media/image17.jp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Master" Target="../slideMasters/slideMaster3.xml"/><Relationship Id="rId4" Type="http://schemas.openxmlformats.org/officeDocument/2006/relationships/image" Target="../media/image21.jp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7.jp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lumMod val="5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2532448"/>
            <a:ext cx="9630389" cy="1793104"/>
          </a:xfrm>
          <a:noFill/>
        </p:spPr>
        <p:txBody>
          <a:bodyPr lIns="0" tIns="0" rIns="0" bIns="182880" anchor="b" anchorCtr="0"/>
          <a:lstStyle>
            <a:lvl1pPr>
              <a:defRPr sz="4705" strike="noStrike" spc="-49" baseline="0">
                <a:solidFill>
                  <a:schemeClr val="bg1"/>
                </a:solidFill>
              </a:defRPr>
            </a:lvl1pPr>
          </a:lstStyle>
          <a:p>
            <a:r>
              <a:rPr lang="en-US" dirty="0"/>
              <a:t>Azure Dev Days</a:t>
            </a:r>
            <a:br>
              <a:rPr lang="en-US" dirty="0"/>
            </a:br>
            <a:r>
              <a:rPr lang="en-US" dirty="0"/>
              <a:t>Presentation title goes her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8" name="Text Placeholder 10">
            <a:extLst>
              <a:ext uri="{FF2B5EF4-FFF2-40B4-BE49-F238E27FC236}">
                <a16:creationId xmlns:a16="http://schemas.microsoft.com/office/drawing/2014/main" id="{5E9C4516-26FA-2F40-A2E5-1BD96936FD8E}"/>
              </a:ext>
            </a:extLst>
          </p:cNvPr>
          <p:cNvSpPr>
            <a:spLocks noGrp="1"/>
          </p:cNvSpPr>
          <p:nvPr>
            <p:ph type="body" sz="quarter" idx="16" hasCustomPrompt="1"/>
          </p:nvPr>
        </p:nvSpPr>
        <p:spPr>
          <a:xfrm>
            <a:off x="464841" y="5669516"/>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dirty="0"/>
              <a:t>Speaker name</a:t>
            </a:r>
          </a:p>
          <a:p>
            <a:pPr lvl="1"/>
            <a:r>
              <a:rPr lang="en-US" dirty="0"/>
              <a:t>Date</a:t>
            </a:r>
          </a:p>
        </p:txBody>
      </p:sp>
    </p:spTree>
    <p:extLst>
      <p:ext uri="{BB962C8B-B14F-4D97-AF65-F5344CB8AC3E}">
        <p14:creationId xmlns:p14="http://schemas.microsoft.com/office/powerpoint/2010/main" val="1281422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dirty="0"/>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45203317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30283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969205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517600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427949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290211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89869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030285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8796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9909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9303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15443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45662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3626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6755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97875-8D55-4C30-924A-EFF2FB5635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B45E08-3040-44FF-8974-F82146763D6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CA69F0-38FE-4536-8FD5-5583B1251475}"/>
              </a:ext>
            </a:extLst>
          </p:cNvPr>
          <p:cNvSpPr>
            <a:spLocks noGrp="1"/>
          </p:cNvSpPr>
          <p:nvPr>
            <p:ph type="dt" sz="half" idx="10"/>
          </p:nvPr>
        </p:nvSpPr>
        <p:spPr/>
        <p:txBody>
          <a:bodyPr/>
          <a:lstStyle/>
          <a:p>
            <a:fld id="{8E9F1057-FC37-4A5C-A107-25C41358BD66}" type="datetimeFigureOut">
              <a:rPr lang="en-US" smtClean="0"/>
              <a:t>8/19/2019</a:t>
            </a:fld>
            <a:endParaRPr lang="en-US"/>
          </a:p>
        </p:txBody>
      </p:sp>
      <p:sp>
        <p:nvSpPr>
          <p:cNvPr id="5" name="Footer Placeholder 4">
            <a:extLst>
              <a:ext uri="{FF2B5EF4-FFF2-40B4-BE49-F238E27FC236}">
                <a16:creationId xmlns:a16="http://schemas.microsoft.com/office/drawing/2014/main" id="{F35FEA04-177E-41F0-9724-C7D2B30704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4D20AC-884D-42A6-9D19-55E18902B872}"/>
              </a:ext>
            </a:extLst>
          </p:cNvPr>
          <p:cNvSpPr>
            <a:spLocks noGrp="1"/>
          </p:cNvSpPr>
          <p:nvPr>
            <p:ph type="sldNum" sz="quarter" idx="12"/>
          </p:nvPr>
        </p:nvSpPr>
        <p:spPr/>
        <p:txBody>
          <a:bodyPr/>
          <a:lstStyle/>
          <a:p>
            <a:fld id="{44584C6E-356C-46D2-86C4-45B3822BECBC}" type="slidenum">
              <a:rPr lang="en-US" smtClean="0"/>
              <a:t>‹#›</a:t>
            </a:fld>
            <a:endParaRPr lang="en-US"/>
          </a:p>
        </p:txBody>
      </p:sp>
    </p:spTree>
    <p:extLst>
      <p:ext uri="{BB962C8B-B14F-4D97-AF65-F5344CB8AC3E}">
        <p14:creationId xmlns:p14="http://schemas.microsoft.com/office/powerpoint/2010/main" val="74514420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906851"/>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30167724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816377"/>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066976"/>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06144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23147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311617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lumMod val="5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2532448"/>
            <a:ext cx="9630389" cy="1793104"/>
          </a:xfrm>
          <a:noFill/>
        </p:spPr>
        <p:txBody>
          <a:bodyPr lIns="0" tIns="0" rIns="0" bIns="182880" anchor="b" anchorCtr="0"/>
          <a:lstStyle>
            <a:lvl1pPr>
              <a:defRPr sz="4705" strike="noStrike" spc="-49" baseline="0">
                <a:solidFill>
                  <a:schemeClr val="bg1"/>
                </a:solidFill>
              </a:defRPr>
            </a:lvl1pPr>
          </a:lstStyle>
          <a:p>
            <a:r>
              <a:rPr lang="en-US" dirty="0"/>
              <a:t>Azure Dev Days</a:t>
            </a:r>
            <a:br>
              <a:rPr lang="en-US" dirty="0"/>
            </a:br>
            <a:r>
              <a:rPr lang="en-US" dirty="0"/>
              <a:t>Presentation title goes her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8" name="Text Placeholder 10">
            <a:extLst>
              <a:ext uri="{FF2B5EF4-FFF2-40B4-BE49-F238E27FC236}">
                <a16:creationId xmlns:a16="http://schemas.microsoft.com/office/drawing/2014/main" id="{5E9C4516-26FA-2F40-A2E5-1BD96936FD8E}"/>
              </a:ext>
            </a:extLst>
          </p:cNvPr>
          <p:cNvSpPr>
            <a:spLocks noGrp="1"/>
          </p:cNvSpPr>
          <p:nvPr>
            <p:ph type="body" sz="quarter" idx="16" hasCustomPrompt="1"/>
          </p:nvPr>
        </p:nvSpPr>
        <p:spPr>
          <a:xfrm>
            <a:off x="464841" y="5669516"/>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dirty="0"/>
              <a:t>Speaker name</a:t>
            </a:r>
          </a:p>
          <a:p>
            <a:pPr lvl="1"/>
            <a:r>
              <a:rPr lang="en-US" dirty="0"/>
              <a:t>Date</a:t>
            </a:r>
          </a:p>
        </p:txBody>
      </p:sp>
    </p:spTree>
    <p:extLst>
      <p:ext uri="{BB962C8B-B14F-4D97-AF65-F5344CB8AC3E}">
        <p14:creationId xmlns:p14="http://schemas.microsoft.com/office/powerpoint/2010/main" val="3235062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2532448"/>
            <a:ext cx="9630389" cy="1793104"/>
          </a:xfrm>
          <a:noFill/>
        </p:spPr>
        <p:txBody>
          <a:bodyPr lIns="0" tIns="0" rIns="0" bIns="182880" anchor="b" anchorCtr="0"/>
          <a:lstStyle>
            <a:lvl1pPr>
              <a:defRPr sz="4705" strike="noStrike" spc="-49" baseline="0">
                <a:solidFill>
                  <a:schemeClr val="bg1"/>
                </a:solidFill>
              </a:defRPr>
            </a:lvl1pPr>
          </a:lstStyle>
          <a:p>
            <a:r>
              <a:rPr lang="en-US" dirty="0"/>
              <a:t>Azure Dev Days</a:t>
            </a:r>
            <a:br>
              <a:rPr lang="en-US" dirty="0"/>
            </a:br>
            <a:r>
              <a:rPr lang="en-US" dirty="0"/>
              <a:t>Presentation title goes her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8" name="Text Placeholder 10">
            <a:extLst>
              <a:ext uri="{FF2B5EF4-FFF2-40B4-BE49-F238E27FC236}">
                <a16:creationId xmlns:a16="http://schemas.microsoft.com/office/drawing/2014/main" id="{A462A60B-A69E-F345-8342-7A4E3F4B69A9}"/>
              </a:ext>
            </a:extLst>
          </p:cNvPr>
          <p:cNvSpPr>
            <a:spLocks noGrp="1"/>
          </p:cNvSpPr>
          <p:nvPr>
            <p:ph type="body" sz="quarter" idx="16" hasCustomPrompt="1"/>
          </p:nvPr>
        </p:nvSpPr>
        <p:spPr>
          <a:xfrm>
            <a:off x="464841" y="5669516"/>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dirty="0"/>
              <a:t>Speaker name</a:t>
            </a:r>
          </a:p>
          <a:p>
            <a:pPr lvl="1"/>
            <a:r>
              <a:rPr lang="en-US" dirty="0"/>
              <a:t>Date</a:t>
            </a:r>
          </a:p>
        </p:txBody>
      </p:sp>
    </p:spTree>
    <p:extLst>
      <p:ext uri="{BB962C8B-B14F-4D97-AF65-F5344CB8AC3E}">
        <p14:creationId xmlns:p14="http://schemas.microsoft.com/office/powerpoint/2010/main" val="4192923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3721694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rgbClr val="000000"/>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75096FF-13CC-0248-B6F1-88D5C0332823}"/>
              </a:ext>
            </a:extLst>
          </p:cNvPr>
          <p:cNvSpPr>
            <a:spLocks noGrp="1"/>
          </p:cNvSpPr>
          <p:nvPr>
            <p:ph type="title" hasCustomPrompt="1"/>
          </p:nvPr>
        </p:nvSpPr>
        <p:spPr>
          <a:xfrm>
            <a:off x="360001" y="3231855"/>
            <a:ext cx="6931447" cy="2171417"/>
          </a:xfrm>
          <a:noFill/>
        </p:spPr>
        <p:txBody>
          <a:bodyPr lIns="0" tIns="0" rIns="0" bIns="182880" anchor="b" anchorCtr="0"/>
          <a:lstStyle>
            <a:lvl1pPr defTabSz="914367">
              <a:defRPr sz="4800" strike="noStrike" spc="-49" baseline="0">
                <a:solidFill>
                  <a:schemeClr val="bg1"/>
                </a:solidFill>
              </a:defRPr>
            </a:lvl1pPr>
          </a:lstStyle>
          <a:p>
            <a:pPr defTabSz="914367"/>
            <a:r>
              <a:rPr lang="en-US" sz="4902" spc="-49" dirty="0">
                <a:solidFill>
                  <a:srgbClr val="FFFFFF"/>
                </a:solidFill>
                <a:latin typeface="+mj-lt"/>
              </a:rPr>
              <a:t>Azure Training Day: </a:t>
            </a:r>
            <a:br>
              <a:rPr lang="en-US" sz="4902" spc="-49" dirty="0">
                <a:solidFill>
                  <a:srgbClr val="0078D3"/>
                </a:solidFill>
                <a:latin typeface="+mj-lt"/>
              </a:rPr>
            </a:br>
            <a:r>
              <a:rPr lang="en-US" sz="4902" spc="-49" dirty="0">
                <a:solidFill>
                  <a:srgbClr val="50E6FF"/>
                </a:solidFill>
                <a:latin typeface="+mj-lt"/>
              </a:rPr>
              <a:t>Learn, architect and developer</a:t>
            </a:r>
            <a:br>
              <a:rPr lang="en-US" sz="4902" spc="-49" dirty="0">
                <a:solidFill>
                  <a:srgbClr val="50E6FF"/>
                </a:solidFill>
                <a:latin typeface="+mj-lt"/>
              </a:rPr>
            </a:br>
            <a:r>
              <a:rPr lang="en-US" sz="4902" spc="-49" dirty="0">
                <a:solidFill>
                  <a:srgbClr val="50E6FF"/>
                </a:solidFill>
                <a:latin typeface="+mj-lt"/>
              </a:rPr>
              <a:t>solutions on Azure</a:t>
            </a:r>
          </a:p>
        </p:txBody>
      </p:sp>
      <p:pic>
        <p:nvPicPr>
          <p:cNvPr id="6" name="Picture 5">
            <a:extLst>
              <a:ext uri="{FF2B5EF4-FFF2-40B4-BE49-F238E27FC236}">
                <a16:creationId xmlns:a16="http://schemas.microsoft.com/office/drawing/2014/main" id="{414E37FF-12F6-394D-83D1-D72C5CB1EF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grpSp>
        <p:nvGrpSpPr>
          <p:cNvPr id="2" name="Group 1">
            <a:extLst>
              <a:ext uri="{FF2B5EF4-FFF2-40B4-BE49-F238E27FC236}">
                <a16:creationId xmlns:a16="http://schemas.microsoft.com/office/drawing/2014/main" id="{CE890B2B-4A87-47BF-ABDC-17FD33799129}"/>
              </a:ext>
            </a:extLst>
          </p:cNvPr>
          <p:cNvGrpSpPr/>
          <p:nvPr userDrawn="1"/>
        </p:nvGrpSpPr>
        <p:grpSpPr>
          <a:xfrm>
            <a:off x="8481525" y="1834556"/>
            <a:ext cx="2844162" cy="3775004"/>
            <a:chOff x="8481525" y="1834556"/>
            <a:chExt cx="2844162" cy="3775004"/>
          </a:xfrm>
        </p:grpSpPr>
        <p:pic>
          <p:nvPicPr>
            <p:cNvPr id="9" name="Picture 8">
              <a:extLst>
                <a:ext uri="{FF2B5EF4-FFF2-40B4-BE49-F238E27FC236}">
                  <a16:creationId xmlns:a16="http://schemas.microsoft.com/office/drawing/2014/main" id="{57ACC723-8B0A-429E-BF99-C0A3279D5A30}"/>
                </a:ext>
              </a:extLst>
            </p:cNvPr>
            <p:cNvPicPr>
              <a:picLocks noChangeAspect="1"/>
            </p:cNvPicPr>
            <p:nvPr userDrawn="1"/>
          </p:nvPicPr>
          <p:blipFill>
            <a:blip r:embed="rId3"/>
            <a:stretch>
              <a:fillRect/>
            </a:stretch>
          </p:blipFill>
          <p:spPr>
            <a:xfrm>
              <a:off x="9633198" y="3834724"/>
              <a:ext cx="594360" cy="594360"/>
            </a:xfrm>
            <a:prstGeom prst="rect">
              <a:avLst/>
            </a:prstGeom>
          </p:spPr>
        </p:pic>
        <p:pic>
          <p:nvPicPr>
            <p:cNvPr id="10" name="Picture 9">
              <a:extLst>
                <a:ext uri="{FF2B5EF4-FFF2-40B4-BE49-F238E27FC236}">
                  <a16:creationId xmlns:a16="http://schemas.microsoft.com/office/drawing/2014/main" id="{FD879010-2BA5-4ADA-86DD-432222904198}"/>
                </a:ext>
              </a:extLst>
            </p:cNvPr>
            <p:cNvPicPr>
              <a:picLocks noChangeAspect="1"/>
            </p:cNvPicPr>
            <p:nvPr userDrawn="1"/>
          </p:nvPicPr>
          <p:blipFill>
            <a:blip r:embed="rId4"/>
            <a:stretch>
              <a:fillRect/>
            </a:stretch>
          </p:blipFill>
          <p:spPr>
            <a:xfrm>
              <a:off x="10731327" y="1834556"/>
              <a:ext cx="594360" cy="594360"/>
            </a:xfrm>
            <a:prstGeom prst="rect">
              <a:avLst/>
            </a:prstGeom>
          </p:spPr>
        </p:pic>
        <p:pic>
          <p:nvPicPr>
            <p:cNvPr id="11" name="Picture 10">
              <a:extLst>
                <a:ext uri="{FF2B5EF4-FFF2-40B4-BE49-F238E27FC236}">
                  <a16:creationId xmlns:a16="http://schemas.microsoft.com/office/drawing/2014/main" id="{E5DCD107-382E-4D1A-A3B9-89F578F4AD7C}"/>
                </a:ext>
              </a:extLst>
            </p:cNvPr>
            <p:cNvPicPr>
              <a:picLocks noChangeAspect="1"/>
            </p:cNvPicPr>
            <p:nvPr userDrawn="1"/>
          </p:nvPicPr>
          <p:blipFill>
            <a:blip r:embed="rId5"/>
            <a:stretch>
              <a:fillRect/>
            </a:stretch>
          </p:blipFill>
          <p:spPr>
            <a:xfrm>
              <a:off x="8481525" y="2834640"/>
              <a:ext cx="594360" cy="594360"/>
            </a:xfrm>
            <a:prstGeom prst="rect">
              <a:avLst/>
            </a:prstGeom>
          </p:spPr>
        </p:pic>
        <p:pic>
          <p:nvPicPr>
            <p:cNvPr id="12" name="Picture 11">
              <a:extLst>
                <a:ext uri="{FF2B5EF4-FFF2-40B4-BE49-F238E27FC236}">
                  <a16:creationId xmlns:a16="http://schemas.microsoft.com/office/drawing/2014/main" id="{B244B066-747D-47EC-A7D2-ECE2D4D79D0C}"/>
                </a:ext>
              </a:extLst>
            </p:cNvPr>
            <p:cNvPicPr>
              <a:picLocks noChangeAspect="1"/>
            </p:cNvPicPr>
            <p:nvPr userDrawn="1"/>
          </p:nvPicPr>
          <p:blipFill>
            <a:blip r:embed="rId6"/>
            <a:stretch>
              <a:fillRect/>
            </a:stretch>
          </p:blipFill>
          <p:spPr>
            <a:xfrm>
              <a:off x="9633198" y="2867584"/>
              <a:ext cx="594360" cy="493171"/>
            </a:xfrm>
            <a:prstGeom prst="rect">
              <a:avLst/>
            </a:prstGeom>
          </p:spPr>
        </p:pic>
        <p:pic>
          <p:nvPicPr>
            <p:cNvPr id="14" name="Picture 13">
              <a:extLst>
                <a:ext uri="{FF2B5EF4-FFF2-40B4-BE49-F238E27FC236}">
                  <a16:creationId xmlns:a16="http://schemas.microsoft.com/office/drawing/2014/main" id="{89190118-51B5-40B5-BDCE-69BFE691ED05}"/>
                </a:ext>
              </a:extLst>
            </p:cNvPr>
            <p:cNvPicPr>
              <a:picLocks noChangeAspect="1"/>
            </p:cNvPicPr>
            <p:nvPr userDrawn="1"/>
          </p:nvPicPr>
          <p:blipFill>
            <a:blip r:embed="rId7"/>
            <a:stretch>
              <a:fillRect/>
            </a:stretch>
          </p:blipFill>
          <p:spPr>
            <a:xfrm>
              <a:off x="9633198" y="1834556"/>
              <a:ext cx="594360" cy="594360"/>
            </a:xfrm>
            <a:prstGeom prst="rect">
              <a:avLst/>
            </a:prstGeom>
          </p:spPr>
        </p:pic>
        <p:pic>
          <p:nvPicPr>
            <p:cNvPr id="15" name="Picture 14">
              <a:extLst>
                <a:ext uri="{FF2B5EF4-FFF2-40B4-BE49-F238E27FC236}">
                  <a16:creationId xmlns:a16="http://schemas.microsoft.com/office/drawing/2014/main" id="{9EB7BB85-E6F0-42CC-BAE4-3FC8F3C36E0C}"/>
                </a:ext>
              </a:extLst>
            </p:cNvPr>
            <p:cNvPicPr>
              <a:picLocks noChangeAspect="1"/>
            </p:cNvPicPr>
            <p:nvPr userDrawn="1"/>
          </p:nvPicPr>
          <p:blipFill>
            <a:blip r:embed="rId8"/>
            <a:stretch>
              <a:fillRect/>
            </a:stretch>
          </p:blipFill>
          <p:spPr>
            <a:xfrm>
              <a:off x="8481525" y="1834556"/>
              <a:ext cx="594360" cy="594360"/>
            </a:xfrm>
            <a:prstGeom prst="rect">
              <a:avLst/>
            </a:prstGeom>
          </p:spPr>
        </p:pic>
        <p:pic>
          <p:nvPicPr>
            <p:cNvPr id="16" name="Picture 15">
              <a:extLst>
                <a:ext uri="{FF2B5EF4-FFF2-40B4-BE49-F238E27FC236}">
                  <a16:creationId xmlns:a16="http://schemas.microsoft.com/office/drawing/2014/main" id="{0B0E0663-AD89-4AC8-8010-AB75DAE0B20E}"/>
                </a:ext>
              </a:extLst>
            </p:cNvPr>
            <p:cNvPicPr>
              <a:picLocks noChangeAspect="1"/>
            </p:cNvPicPr>
            <p:nvPr userDrawn="1"/>
          </p:nvPicPr>
          <p:blipFill>
            <a:blip r:embed="rId9"/>
            <a:stretch>
              <a:fillRect/>
            </a:stretch>
          </p:blipFill>
          <p:spPr>
            <a:xfrm>
              <a:off x="8490069" y="3834724"/>
              <a:ext cx="594360" cy="594360"/>
            </a:xfrm>
            <a:prstGeom prst="rect">
              <a:avLst/>
            </a:prstGeom>
          </p:spPr>
        </p:pic>
        <p:pic>
          <p:nvPicPr>
            <p:cNvPr id="17" name="Picture 16">
              <a:extLst>
                <a:ext uri="{FF2B5EF4-FFF2-40B4-BE49-F238E27FC236}">
                  <a16:creationId xmlns:a16="http://schemas.microsoft.com/office/drawing/2014/main" id="{CE957CD3-70DC-4100-A225-7B592B67F885}"/>
                </a:ext>
              </a:extLst>
            </p:cNvPr>
            <p:cNvPicPr>
              <a:picLocks noChangeAspect="1"/>
            </p:cNvPicPr>
            <p:nvPr userDrawn="1"/>
          </p:nvPicPr>
          <p:blipFill>
            <a:blip r:embed="rId10"/>
            <a:stretch>
              <a:fillRect/>
            </a:stretch>
          </p:blipFill>
          <p:spPr>
            <a:xfrm>
              <a:off x="10731327" y="2972070"/>
              <a:ext cx="594360" cy="259786"/>
            </a:xfrm>
            <a:prstGeom prst="rect">
              <a:avLst/>
            </a:prstGeom>
          </p:spPr>
        </p:pic>
        <p:pic>
          <p:nvPicPr>
            <p:cNvPr id="18" name="Picture 17">
              <a:extLst>
                <a:ext uri="{FF2B5EF4-FFF2-40B4-BE49-F238E27FC236}">
                  <a16:creationId xmlns:a16="http://schemas.microsoft.com/office/drawing/2014/main" id="{216E37C7-D8FB-42AE-BCF0-63E6A65201AD}"/>
                </a:ext>
              </a:extLst>
            </p:cNvPr>
            <p:cNvPicPr>
              <a:picLocks noChangeAspect="1"/>
            </p:cNvPicPr>
            <p:nvPr userDrawn="1"/>
          </p:nvPicPr>
          <p:blipFill>
            <a:blip r:embed="rId11"/>
            <a:stretch>
              <a:fillRect/>
            </a:stretch>
          </p:blipFill>
          <p:spPr>
            <a:xfrm>
              <a:off x="10731327" y="4000752"/>
              <a:ext cx="594360" cy="262304"/>
            </a:xfrm>
            <a:prstGeom prst="rect">
              <a:avLst/>
            </a:prstGeom>
          </p:spPr>
        </p:pic>
        <p:pic>
          <p:nvPicPr>
            <p:cNvPr id="19" name="Picture 18">
              <a:extLst>
                <a:ext uri="{FF2B5EF4-FFF2-40B4-BE49-F238E27FC236}">
                  <a16:creationId xmlns:a16="http://schemas.microsoft.com/office/drawing/2014/main" id="{CFBEBE55-430D-469B-863D-CF0F3398BD70}"/>
                </a:ext>
              </a:extLst>
            </p:cNvPr>
            <p:cNvPicPr>
              <a:picLocks noChangeAspect="1"/>
            </p:cNvPicPr>
            <p:nvPr userDrawn="1"/>
          </p:nvPicPr>
          <p:blipFill>
            <a:blip r:embed="rId12"/>
            <a:stretch>
              <a:fillRect/>
            </a:stretch>
          </p:blipFill>
          <p:spPr>
            <a:xfrm>
              <a:off x="8582907" y="5015200"/>
              <a:ext cx="408683" cy="594360"/>
            </a:xfrm>
            <a:prstGeom prst="rect">
              <a:avLst/>
            </a:prstGeom>
          </p:spPr>
        </p:pic>
        <p:pic>
          <p:nvPicPr>
            <p:cNvPr id="20" name="Picture 19">
              <a:extLst>
                <a:ext uri="{FF2B5EF4-FFF2-40B4-BE49-F238E27FC236}">
                  <a16:creationId xmlns:a16="http://schemas.microsoft.com/office/drawing/2014/main" id="{AC9C76CB-E61E-4101-8CD5-48724D444971}"/>
                </a:ext>
              </a:extLst>
            </p:cNvPr>
            <p:cNvPicPr>
              <a:picLocks noChangeAspect="1"/>
            </p:cNvPicPr>
            <p:nvPr userDrawn="1"/>
          </p:nvPicPr>
          <p:blipFill>
            <a:blip r:embed="rId13"/>
            <a:stretch>
              <a:fillRect/>
            </a:stretch>
          </p:blipFill>
          <p:spPr>
            <a:xfrm>
              <a:off x="9633198" y="5089372"/>
              <a:ext cx="594360" cy="446015"/>
            </a:xfrm>
            <a:prstGeom prst="rect">
              <a:avLst/>
            </a:prstGeom>
          </p:spPr>
        </p:pic>
        <p:pic>
          <p:nvPicPr>
            <p:cNvPr id="21" name="Picture 20">
              <a:extLst>
                <a:ext uri="{FF2B5EF4-FFF2-40B4-BE49-F238E27FC236}">
                  <a16:creationId xmlns:a16="http://schemas.microsoft.com/office/drawing/2014/main" id="{AF46E7AC-A6D0-40E5-AC0C-4C2C29F3B2E0}"/>
                </a:ext>
              </a:extLst>
            </p:cNvPr>
            <p:cNvPicPr>
              <a:picLocks noChangeAspect="1"/>
            </p:cNvPicPr>
            <p:nvPr userDrawn="1"/>
          </p:nvPicPr>
          <p:blipFill>
            <a:blip r:embed="rId14"/>
            <a:stretch>
              <a:fillRect/>
            </a:stretch>
          </p:blipFill>
          <p:spPr>
            <a:xfrm>
              <a:off x="10731327" y="5054172"/>
              <a:ext cx="594360" cy="446015"/>
            </a:xfrm>
            <a:prstGeom prst="rect">
              <a:avLst/>
            </a:prstGeom>
          </p:spPr>
        </p:pic>
      </p:grpSp>
    </p:spTree>
    <p:extLst>
      <p:ext uri="{BB962C8B-B14F-4D97-AF65-F5344CB8AC3E}">
        <p14:creationId xmlns:p14="http://schemas.microsoft.com/office/powerpoint/2010/main" val="44295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67424050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73860746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34276951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91368201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6300377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dirty="0"/>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dirty="0"/>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dirty="0"/>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dirty="0"/>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dirty="0"/>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412517046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dirty="0"/>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34270791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561374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702428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82916108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238152048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56231592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endParaRPr lang="en-US" dirty="0"/>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5945347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6759301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endParaRPr lang="en-US" dirty="0"/>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49025321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endParaRPr lang="en-US" dirty="0"/>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endParaRPr lang="en-US" dirty="0"/>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31023076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66547661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44485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6012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578342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416868292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9033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8686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5590323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77845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45261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1459189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68226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16388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3383969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06399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endParaRPr lang="en-US" dirty="0"/>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40327205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Walkin Slide">
    <p:bg>
      <p:bgPr>
        <a:solidFill>
          <a:schemeClr val="accent5">
            <a:lumMod val="75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CC73F7E-519C-4D23-B871-7FD985D67D4D}"/>
              </a:ext>
            </a:extLst>
          </p:cNvPr>
          <p:cNvSpPr/>
          <p:nvPr/>
        </p:nvSpPr>
        <p:spPr>
          <a:xfrm>
            <a:off x="584200" y="4628312"/>
            <a:ext cx="3262753"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September, 2018   //   Online</a:t>
            </a:r>
          </a:p>
        </p:txBody>
      </p:sp>
      <p:sp>
        <p:nvSpPr>
          <p:cNvPr id="2" name="TextBox 1">
            <a:extLst>
              <a:ext uri="{FF2B5EF4-FFF2-40B4-BE49-F238E27FC236}">
                <a16:creationId xmlns:a16="http://schemas.microsoft.com/office/drawing/2014/main" id="{79F5C6A6-5408-4F03-8AA3-8C368FE30073}"/>
              </a:ext>
            </a:extLst>
          </p:cNvPr>
          <p:cNvSpPr txBox="1"/>
          <p:nvPr userDrawn="1"/>
        </p:nvSpPr>
        <p:spPr>
          <a:xfrm>
            <a:off x="461818" y="2229688"/>
            <a:ext cx="9065491" cy="1846659"/>
          </a:xfrm>
          <a:prstGeom prst="rect">
            <a:avLst/>
          </a:prstGeom>
          <a:noFill/>
        </p:spPr>
        <p:txBody>
          <a:bodyPr wrap="square" lIns="0" tIns="0" rIns="0" bIns="0" rtlCol="0">
            <a:spAutoFit/>
          </a:bodyPr>
          <a:lstStyle/>
          <a:p>
            <a:pPr algn="l"/>
            <a:r>
              <a:rPr lang="en-IN" sz="4800" dirty="0">
                <a:gradFill>
                  <a:gsLst>
                    <a:gs pos="2917">
                      <a:schemeClr val="tx1"/>
                    </a:gs>
                    <a:gs pos="30000">
                      <a:schemeClr val="tx1"/>
                    </a:gs>
                  </a:gsLst>
                  <a:lin ang="5400000" scaled="0"/>
                </a:gradFill>
                <a:latin typeface="+mj-lt"/>
              </a:rPr>
              <a:t>A Look Inside</a:t>
            </a:r>
          </a:p>
          <a:p>
            <a:pPr algn="l"/>
            <a:r>
              <a:rPr lang="en-IN" sz="3600" dirty="0">
                <a:gradFill>
                  <a:gsLst>
                    <a:gs pos="2917">
                      <a:schemeClr val="tx1"/>
                    </a:gs>
                    <a:gs pos="30000">
                      <a:schemeClr val="tx1"/>
                    </a:gs>
                  </a:gsLst>
                  <a:lin ang="5400000" scaled="0"/>
                </a:gradFill>
                <a:latin typeface="+mj-lt"/>
              </a:rPr>
              <a:t>AZ 100 </a:t>
            </a:r>
            <a:r>
              <a:rPr lang="en-US" sz="3600" dirty="0">
                <a:gradFill>
                  <a:gsLst>
                    <a:gs pos="2917">
                      <a:schemeClr val="tx1"/>
                    </a:gs>
                    <a:gs pos="30000">
                      <a:schemeClr val="tx1"/>
                    </a:gs>
                  </a:gsLst>
                  <a:lin ang="5400000" scaled="0"/>
                </a:gradFill>
                <a:latin typeface="+mj-lt"/>
              </a:rPr>
              <a:t>Microsoft Azure Infrastructure and Deployment (beta)</a:t>
            </a:r>
            <a:endParaRPr lang="en-IN" sz="3600" dirty="0">
              <a:gradFill>
                <a:gsLst>
                  <a:gs pos="2917">
                    <a:schemeClr val="tx1"/>
                  </a:gs>
                  <a:gs pos="30000">
                    <a:schemeClr val="tx1"/>
                  </a:gs>
                </a:gsLst>
                <a:lin ang="5400000" scaled="0"/>
              </a:gradFill>
              <a:latin typeface="+mj-lt"/>
            </a:endParaRPr>
          </a:p>
        </p:txBody>
      </p:sp>
      <p:pic>
        <p:nvPicPr>
          <p:cNvPr id="5" name="MS logo white - EMF" descr="Microsoft logo white text version">
            <a:extLst>
              <a:ext uri="{FF2B5EF4-FFF2-40B4-BE49-F238E27FC236}">
                <a16:creationId xmlns:a16="http://schemas.microsoft.com/office/drawing/2014/main" id="{FEF00906-4A7F-4104-A0C5-475B82B807B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67933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5">
            <a:lumMod val="75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a:extLst>
              <a:ext uri="{FF2B5EF4-FFF2-40B4-BE49-F238E27FC236}">
                <a16:creationId xmlns:a16="http://schemas.microsoft.com/office/drawing/2014/main" id="{4DABB40E-CCEE-4D29-AA2E-19F94F6C41F6}"/>
              </a:ext>
            </a:extLst>
          </p:cNvPr>
          <p:cNvPicPr>
            <a:picLocks noChangeAspect="1"/>
          </p:cNvPicPr>
          <p:nvPr userDrawn="1"/>
        </p:nvPicPr>
        <p:blipFill>
          <a:blip r:embed="rId2"/>
          <a:stretch>
            <a:fillRect/>
          </a:stretch>
        </p:blipFill>
        <p:spPr>
          <a:xfrm>
            <a:off x="461819" y="510021"/>
            <a:ext cx="1703308" cy="385906"/>
          </a:xfrm>
          <a:prstGeom prst="rect">
            <a:avLst/>
          </a:prstGeom>
        </p:spPr>
      </p:pic>
    </p:spTree>
    <p:extLst>
      <p:ext uri="{BB962C8B-B14F-4D97-AF65-F5344CB8AC3E}">
        <p14:creationId xmlns:p14="http://schemas.microsoft.com/office/powerpoint/2010/main" val="2593205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16590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23538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00705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35096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69070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1794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15572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mall title - half page (dark)">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84994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641024494"/>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4234584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59848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21577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22494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327720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1501453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779930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5">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104247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37604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50780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endParaRPr lang="en-US" dirty="0"/>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04007199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5">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78234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27197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5">
            <a:lumMod val="7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68211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4783676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6755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7_Company History 1">
    <p:spTree>
      <p:nvGrpSpPr>
        <p:cNvPr id="1" name=""/>
        <p:cNvGrpSpPr/>
        <p:nvPr/>
      </p:nvGrpSpPr>
      <p:grpSpPr>
        <a:xfrm>
          <a:off x="0" y="0"/>
          <a:ext cx="0" cy="0"/>
          <a:chOff x="0" y="0"/>
          <a:chExt cx="0" cy="0"/>
        </a:xfrm>
      </p:grpSpPr>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7" name="Rectangle 6">
            <a:extLst>
              <a:ext uri="{FF2B5EF4-FFF2-40B4-BE49-F238E27FC236}">
                <a16:creationId xmlns:a16="http://schemas.microsoft.com/office/drawing/2014/main" id="{429579B5-509F-459A-AA1D-788059A66602}"/>
              </a:ext>
            </a:extLst>
          </p:cNvPr>
          <p:cNvSpPr>
            <a:spLocks/>
          </p:cNvSpPr>
          <p:nvPr userDrawn="1"/>
        </p:nvSpPr>
        <p:spPr>
          <a:xfrm>
            <a:off x="2" y="3210472"/>
            <a:ext cx="5970492"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8" name="Rectangle 7">
            <a:extLst>
              <a:ext uri="{FF2B5EF4-FFF2-40B4-BE49-F238E27FC236}">
                <a16:creationId xmlns:a16="http://schemas.microsoft.com/office/drawing/2014/main" id="{956149FF-F01D-42FA-9904-EB7CFB139245}"/>
              </a:ext>
            </a:extLst>
          </p:cNvPr>
          <p:cNvSpPr/>
          <p:nvPr userDrawn="1"/>
        </p:nvSpPr>
        <p:spPr bwMode="auto">
          <a:xfrm>
            <a:off x="574197" y="292100"/>
            <a:ext cx="5004411"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5" name="Title 3">
            <a:extLst>
              <a:ext uri="{FF2B5EF4-FFF2-40B4-BE49-F238E27FC236}">
                <a16:creationId xmlns:a16="http://schemas.microsoft.com/office/drawing/2014/main" id="{3F851125-7A67-488F-98E9-FE8725E8E9C0}"/>
              </a:ext>
            </a:extLst>
          </p:cNvPr>
          <p:cNvSpPr>
            <a:spLocks noGrp="1"/>
          </p:cNvSpPr>
          <p:nvPr>
            <p:ph type="title"/>
          </p:nvPr>
        </p:nvSpPr>
        <p:spPr>
          <a:xfrm>
            <a:off x="6138452" y="3210472"/>
            <a:ext cx="5209836" cy="430887"/>
          </a:xfrm>
        </p:spPr>
        <p:txBody>
          <a:bodyPr anchor="b"/>
          <a:lstStyle>
            <a:lvl1pPr algn="l">
              <a:defRPr sz="2800"/>
            </a:lvl1pPr>
          </a:lstStyle>
          <a:p>
            <a:r>
              <a:rPr lang="en-US"/>
              <a:t>Click to edit Master</a:t>
            </a:r>
          </a:p>
        </p:txBody>
      </p:sp>
      <p:sp>
        <p:nvSpPr>
          <p:cNvPr id="16" name="Text Placeholder 13">
            <a:extLst>
              <a:ext uri="{FF2B5EF4-FFF2-40B4-BE49-F238E27FC236}">
                <a16:creationId xmlns:a16="http://schemas.microsoft.com/office/drawing/2014/main" id="{3B4AD330-F026-4EFD-A3B3-7C4548F375BF}"/>
              </a:ext>
            </a:extLst>
          </p:cNvPr>
          <p:cNvSpPr>
            <a:spLocks noGrp="1"/>
          </p:cNvSpPr>
          <p:nvPr>
            <p:ph type="body" sz="quarter" idx="10"/>
          </p:nvPr>
        </p:nvSpPr>
        <p:spPr>
          <a:xfrm>
            <a:off x="6138452" y="3747407"/>
            <a:ext cx="5215659" cy="409754"/>
          </a:xfrm>
        </p:spPr>
        <p:txBody>
          <a:bodyPr/>
          <a:lstStyle>
            <a:lvl1pPr marL="0" indent="0">
              <a:spcBef>
                <a:spcPts val="600"/>
              </a:spcBef>
              <a:buFont typeface="Arial" panose="020B0604020202020204" pitchFamily="34" charset="0"/>
              <a:buNone/>
              <a:defRPr sz="1400">
                <a:solidFill>
                  <a:schemeClr val="accent5"/>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a:t>
            </a:r>
            <a:r>
              <a:rPr lang="en-US" err="1"/>
              <a:t>levelC</a:t>
            </a:r>
            <a:endParaRPr lang="en-US"/>
          </a:p>
        </p:txBody>
      </p:sp>
    </p:spTree>
    <p:extLst>
      <p:ext uri="{BB962C8B-B14F-4D97-AF65-F5344CB8AC3E}">
        <p14:creationId xmlns:p14="http://schemas.microsoft.com/office/powerpoint/2010/main" val="3079749651"/>
      </p:ext>
    </p:extLst>
  </p:cSld>
  <p:clrMapOvr>
    <a:masterClrMapping/>
  </p:clrMapOvr>
  <p:extLst>
    <p:ext uri="{DCECCB84-F9BA-43D5-87BE-67443E8EF086}">
      <p15:sldGuideLst xmlns:p15="http://schemas.microsoft.com/office/powerpoint/2012/main">
        <p15:guide id="1" pos="1920">
          <p15:clr>
            <a:srgbClr val="FBAE40"/>
          </p15:clr>
        </p15:guide>
        <p15:guide id="2" orient="horz" pos="1992">
          <p15:clr>
            <a:srgbClr val="FBAE40"/>
          </p15:clr>
        </p15:guide>
        <p15:guide id="3" pos="480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3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7" y="2019300"/>
            <a:ext cx="5359401" cy="1107996"/>
          </a:xfr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199" y="3284459"/>
            <a:ext cx="5359401"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13226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728667" y="3210472"/>
            <a:ext cx="3469801" cy="630339"/>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891944452"/>
      </p:ext>
    </p:extLst>
  </p:cSld>
  <p:clrMapOvr>
    <a:masterClrMapping/>
  </p:clrMapOvr>
  <p:hf sldNum="0" hdr="0" ftr="0" dt="0"/>
  <p:extLst>
    <p:ext uri="{DCECCB84-F9BA-43D5-87BE-67443E8EF086}">
      <p15:sldGuideLst xmlns:p15="http://schemas.microsoft.com/office/powerpoint/2012/main">
        <p15:guide id="1" pos="2280">
          <p15:clr>
            <a:srgbClr val="FBAE40"/>
          </p15:clr>
        </p15:guide>
        <p15:guide id="2" orient="horz" pos="2016">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5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111176054"/>
      </p:ext>
    </p:extLst>
  </p:cSld>
  <p:clrMapOvr>
    <a:masterClrMapping/>
  </p:clrMapOvr>
  <p:hf sldNum="0" hdr="0" ftr="0" dt="0"/>
  <p:extLst>
    <p:ext uri="{DCECCB84-F9BA-43D5-87BE-67443E8EF086}">
      <p15:sldGuideLst xmlns:p15="http://schemas.microsoft.com/office/powerpoint/2012/main">
        <p15:guide id="1" pos="2280">
          <p15:clr>
            <a:srgbClr val="FBAE40"/>
          </p15:clr>
        </p15:guide>
        <p15:guide id="2" orient="horz" pos="2016">
          <p15:clr>
            <a:srgbClr val="FBAE40"/>
          </p15:clr>
        </p15:guide>
        <p15:guide id="3" orient="horz" pos="2256">
          <p15:clr>
            <a:srgbClr val="FBAE40"/>
          </p15:clr>
        </p15:guide>
        <p15:guide id="4" orient="horz" pos="864">
          <p15:clr>
            <a:srgbClr val="FBAE40"/>
          </p15:clr>
        </p15:guide>
        <p15:guide id="5" orient="horz" pos="2832">
          <p15:clr>
            <a:srgbClr val="FBAE40"/>
          </p15:clr>
        </p15:guide>
        <p15:guide id="6" orient="horz" pos="309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a:prstGeom prst="rect">
            <a:avLst/>
          </a:prstGeo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471058"/>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endParaRPr lang="en-US" dirty="0"/>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endParaRPr lang="en-US" dirty="0"/>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6685917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638720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0" y="192025"/>
            <a:ext cx="12192000" cy="646042"/>
          </a:xfrm>
        </p:spPr>
        <p:txBody>
          <a:bodyPr>
            <a:noAutofit/>
          </a:bodyPr>
          <a:lstStyle>
            <a:lvl1pPr>
              <a:defRPr/>
            </a:lvl1pPr>
          </a:lstStyle>
          <a:p>
            <a:endParaRPr lang="en-US"/>
          </a:p>
        </p:txBody>
      </p:sp>
      <p:sp>
        <p:nvSpPr>
          <p:cNvPr id="6" name="Text Placeholder 5"/>
          <p:cNvSpPr>
            <a:spLocks noGrp="1"/>
          </p:cNvSpPr>
          <p:nvPr>
            <p:ph type="body" sz="quarter" idx="13" hasCustomPrompt="1"/>
            <p:custDataLst>
              <p:tags r:id="rId2"/>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a:t>Click to add subtitle</a:t>
            </a:r>
          </a:p>
        </p:txBody>
      </p:sp>
      <p:sp>
        <p:nvSpPr>
          <p:cNvPr id="16" name="Text Placeholder 15"/>
          <p:cNvSpPr>
            <a:spLocks noGrp="1"/>
          </p:cNvSpPr>
          <p:nvPr>
            <p:ph type="body" sz="quarter" idx="14"/>
            <p:custDataLst>
              <p:tags r:id="rId3"/>
            </p:custDataLst>
          </p:nvPr>
        </p:nvSpPr>
        <p:spPr>
          <a:xfrm>
            <a:off x="404813" y="1330326"/>
            <a:ext cx="11365992" cy="4918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custDataLst>
              <p:tags r:id="rId4"/>
            </p:custDataLst>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75806945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20319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21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09839089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nd Blank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FC57D-8802-4BDD-B9E2-11B606F138B5}"/>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3FFB2DDE-1BB0-4077-8617-421AC71CFC0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AA606AF-8369-416D-BDC9-9EC7E13089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CB24F8-5348-4215-9F28-3D4502A7F36F}"/>
              </a:ext>
            </a:extLst>
          </p:cNvPr>
          <p:cNvSpPr>
            <a:spLocks noGrp="1"/>
          </p:cNvSpPr>
          <p:nvPr>
            <p:ph type="sldNum" sz="quarter" idx="12"/>
          </p:nvPr>
        </p:nvSpPr>
        <p:spPr/>
        <p:txBody>
          <a:bodyPr/>
          <a:lstStyle/>
          <a:p>
            <a:fld id="{C90733C8-16AE-4E07-8405-75259510085E}" type="slidenum">
              <a:rPr lang="en-US" smtClean="0"/>
              <a:t>‹#›</a:t>
            </a:fld>
            <a:endParaRPr lang="en-US"/>
          </a:p>
        </p:txBody>
      </p:sp>
    </p:spTree>
    <p:extLst>
      <p:ext uri="{BB962C8B-B14F-4D97-AF65-F5344CB8AC3E}">
        <p14:creationId xmlns:p14="http://schemas.microsoft.com/office/powerpoint/2010/main" val="73831556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552524" y="6444939"/>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7">
            <a:extLst>
              <a:ext uri="{FF2B5EF4-FFF2-40B4-BE49-F238E27FC236}">
                <a16:creationId xmlns:a16="http://schemas.microsoft.com/office/drawing/2014/main" id="{2C288B92-B552-4ECB-873D-C84F0B82ACD9}"/>
              </a:ext>
            </a:extLst>
          </p:cNvPr>
          <p:cNvSpPr txBox="1"/>
          <p:nvPr userDrawn="1"/>
        </p:nvSpPr>
        <p:spPr bwMode="white">
          <a:xfrm>
            <a:off x="5066293"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3872091820"/>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9178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8/1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dirty="0"/>
          </a:p>
        </p:txBody>
      </p:sp>
    </p:spTree>
    <p:extLst>
      <p:ext uri="{BB962C8B-B14F-4D97-AF65-F5344CB8AC3E}">
        <p14:creationId xmlns:p14="http://schemas.microsoft.com/office/powerpoint/2010/main" val="363797204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Only light">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3D917D-70CA-49CE-9A4B-614F3D3864AD}"/>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68605586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06509549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2532448"/>
            <a:ext cx="9630389" cy="1793104"/>
          </a:xfrm>
          <a:noFill/>
        </p:spPr>
        <p:txBody>
          <a:bodyPr lIns="0" tIns="0" rIns="0" bIns="182880" anchor="b" anchorCtr="0"/>
          <a:lstStyle>
            <a:lvl1pPr>
              <a:defRPr sz="4705" strike="noStrike" spc="-49" baseline="0">
                <a:solidFill>
                  <a:schemeClr val="bg1"/>
                </a:solidFill>
              </a:defRPr>
            </a:lvl1pPr>
          </a:lstStyle>
          <a:p>
            <a:r>
              <a:rPr lang="en-US" dirty="0"/>
              <a:t>Azure Dev Days</a:t>
            </a:r>
            <a:br>
              <a:rPr lang="en-US" dirty="0"/>
            </a:br>
            <a:r>
              <a:rPr lang="en-US" dirty="0"/>
              <a:t>Presentation title goes her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8" name="Text Placeholder 10">
            <a:extLst>
              <a:ext uri="{FF2B5EF4-FFF2-40B4-BE49-F238E27FC236}">
                <a16:creationId xmlns:a16="http://schemas.microsoft.com/office/drawing/2014/main" id="{A462A60B-A69E-F345-8342-7A4E3F4B69A9}"/>
              </a:ext>
            </a:extLst>
          </p:cNvPr>
          <p:cNvSpPr>
            <a:spLocks noGrp="1"/>
          </p:cNvSpPr>
          <p:nvPr>
            <p:ph type="body" sz="quarter" idx="16" hasCustomPrompt="1"/>
          </p:nvPr>
        </p:nvSpPr>
        <p:spPr>
          <a:xfrm>
            <a:off x="464841" y="5669516"/>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dirty="0"/>
              <a:t>Speaker name</a:t>
            </a:r>
          </a:p>
          <a:p>
            <a:pPr lvl="1"/>
            <a:r>
              <a:rPr lang="en-US" dirty="0"/>
              <a:t>Date</a:t>
            </a:r>
          </a:p>
        </p:txBody>
      </p:sp>
    </p:spTree>
    <p:extLst>
      <p:ext uri="{BB962C8B-B14F-4D97-AF65-F5344CB8AC3E}">
        <p14:creationId xmlns:p14="http://schemas.microsoft.com/office/powerpoint/2010/main" val="2764242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56474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4D8D864-CFA6-477D-A4B4-FED8B0945667}"/>
              </a:ext>
            </a:extLst>
          </p:cNvPr>
          <p:cNvSpPr>
            <a:spLocks noGrp="1"/>
          </p:cNvSpPr>
          <p:nvPr>
            <p:ph idx="33" hasCustomPrompt="1"/>
          </p:nvPr>
        </p:nvSpPr>
        <p:spPr>
          <a:xfrm>
            <a:off x="6103952" y="3276600"/>
            <a:ext cx="5622897" cy="2819400"/>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dirty="0"/>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p:nvPr>
        </p:nvSpPr>
        <p:spPr>
          <a:xfrm>
            <a:off x="10325099" y="1181100"/>
            <a:ext cx="1409700" cy="1409700"/>
          </a:xfrm>
          <a:prstGeom prst="ellipse">
            <a:avLst/>
          </a:prstGeom>
        </p:spPr>
        <p:txBody>
          <a:bodyPr wrap="none" anchor="ctr" anchorCtr="0"/>
          <a:lstStyle>
            <a:lvl1pPr algn="ctr">
              <a:defRPr sz="1400" b="0">
                <a:solidFill>
                  <a:srgbClr val="B4009E"/>
                </a:solidFill>
              </a:defRPr>
            </a:lvl1pPr>
          </a:lstStyle>
          <a:p>
            <a:r>
              <a:rPr lang="en-US"/>
              <a:t>Click icon to add 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0" y="1181100"/>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Twitter: @handle</a:t>
            </a:r>
          </a:p>
          <a:p>
            <a:pPr lvl="0"/>
            <a:r>
              <a:rPr lang="en-US" dirty="0"/>
              <a:t>Email: </a:t>
            </a:r>
            <a:r>
              <a:rPr lang="en-US" dirty="0" err="1"/>
              <a:t>email@Microsoft.com</a:t>
            </a:r>
            <a:endParaRPr lang="en-US" dirty="0"/>
          </a:p>
        </p:txBody>
      </p:sp>
      <p:sp>
        <p:nvSpPr>
          <p:cNvPr id="2" name="Slide Number Placeholder 1">
            <a:extLst>
              <a:ext uri="{FF2B5EF4-FFF2-40B4-BE49-F238E27FC236}">
                <a16:creationId xmlns:a16="http://schemas.microsoft.com/office/drawing/2014/main" id="{B91CB2BC-111D-F649-A0EE-51B2CD7DCF8C}"/>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3" name="Text Placeholder 3">
            <a:extLst>
              <a:ext uri="{FF2B5EF4-FFF2-40B4-BE49-F238E27FC236}">
                <a16:creationId xmlns:a16="http://schemas.microsoft.com/office/drawing/2014/main" id="{245711B6-47A7-4CF6-BE34-3532BF3BA128}"/>
              </a:ext>
            </a:extLst>
          </p:cNvPr>
          <p:cNvSpPr>
            <a:spLocks noGrp="1"/>
          </p:cNvSpPr>
          <p:nvPr>
            <p:ph idx="1"/>
          </p:nvPr>
        </p:nvSpPr>
        <p:spPr>
          <a:xfrm>
            <a:off x="456133" y="1181100"/>
            <a:ext cx="5622897" cy="4914900"/>
          </a:xfrm>
          <a:prstGeom prst="rect">
            <a:avLst/>
          </a:prstGeom>
        </p:spPr>
        <p:txBody>
          <a:bodyPr vert="horz" wrap="square" lIns="0" tIns="0" rIns="18288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6260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81690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 Agenda (Viz 1)">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lum bright="-18000"/>
            <a:alphaModFix amt="20000"/>
          </a:blip>
          <a:srcRect t="12321" r="8879"/>
          <a:stretch/>
        </p:blipFill>
        <p:spPr>
          <a:xfrm>
            <a:off x="5777283" y="0"/>
            <a:ext cx="6414717" cy="6013048"/>
          </a:xfrm>
          <a:prstGeom prst="rect">
            <a:avLst/>
          </a:prstGeom>
        </p:spPr>
      </p:pic>
      <p:sp>
        <p:nvSpPr>
          <p:cNvPr id="20" name="Text Placeholder 2">
            <a:extLst>
              <a:ext uri="{FF2B5EF4-FFF2-40B4-BE49-F238E27FC236}">
                <a16:creationId xmlns:a16="http://schemas.microsoft.com/office/drawing/2014/main" id="{20A3B10F-BCBB-9C40-AC34-24E67107407F}"/>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Agenda 1</a:t>
            </a:r>
          </a:p>
          <a:p>
            <a:pPr lvl="0"/>
            <a:r>
              <a:rPr lang="en-US" dirty="0"/>
              <a:t>Agenda 2 -</a:t>
            </a:r>
            <a:br>
              <a:rPr lang="en-US" dirty="0"/>
            </a:br>
            <a:r>
              <a:rPr lang="en-US" dirty="0"/>
              <a:t>Could go to 2 lines</a:t>
            </a:r>
          </a:p>
          <a:p>
            <a:pPr lvl="0"/>
            <a:r>
              <a:rPr lang="en-US" dirty="0"/>
              <a:t>Agenda 3</a:t>
            </a:r>
          </a:p>
        </p:txBody>
      </p:sp>
      <p:sp>
        <p:nvSpPr>
          <p:cNvPr id="31" name="Title 13"/>
          <p:cNvSpPr>
            <a:spLocks noGrp="1"/>
          </p:cNvSpPr>
          <p:nvPr>
            <p:ph type="title" hasCustomPrompt="1"/>
          </p:nvPr>
        </p:nvSpPr>
        <p:spPr>
          <a:xfrm>
            <a:off x="457200" y="1866900"/>
            <a:ext cx="11277600" cy="1409700"/>
          </a:xfrm>
          <a:prstGeom prst="rect">
            <a:avLst/>
          </a:prstGeom>
        </p:spPr>
        <p:txBody>
          <a:bodyPr lIns="0" anchor="t" anchorCtr="0">
            <a:noAutofit/>
          </a:bodyPr>
          <a:lstStyle>
            <a:lvl1pPr>
              <a:lnSpc>
                <a:spcPct val="85000"/>
              </a:lnSpc>
              <a:defRPr sz="6000" b="1" i="0" baseline="0">
                <a:solidFill>
                  <a:schemeClr val="accent2"/>
                </a:solidFill>
                <a:latin typeface="Segoe UI Semibold" charset="0"/>
                <a:ea typeface="Segoe UI Semibold" charset="0"/>
                <a:cs typeface="Segoe UI Semibold" charset="0"/>
              </a:defRPr>
            </a:lvl1pPr>
          </a:lstStyle>
          <a:p>
            <a:r>
              <a:rPr lang="en-US" dirty="0"/>
              <a:t>Title Goes Here</a:t>
            </a:r>
            <a:br>
              <a:rPr lang="en-US" dirty="0"/>
            </a:br>
            <a:r>
              <a:rPr lang="en-US" dirty="0"/>
              <a:t>May Take Two Lines</a:t>
            </a:r>
          </a:p>
        </p:txBody>
      </p:sp>
      <p:sp>
        <p:nvSpPr>
          <p:cNvPr id="32" name="Shape 78"/>
          <p:cNvSpPr txBox="1">
            <a:spLocks noGrp="1"/>
          </p:cNvSpPr>
          <p:nvPr>
            <p:ph type="body" idx="7" hasCustomPrompt="1"/>
          </p:nvPr>
        </p:nvSpPr>
        <p:spPr>
          <a:xfrm>
            <a:off x="457200" y="3276600"/>
            <a:ext cx="11277600" cy="723900"/>
          </a:xfrm>
          <a:prstGeom prst="rect">
            <a:avLst/>
          </a:prstGeom>
        </p:spPr>
        <p:txBody>
          <a:bodyPr vert="horz" lIns="0" tIns="0" rIns="0" bIns="0" rtlCol="0" anchor="b" anchorCtr="0">
            <a:noAutofit/>
          </a:bodyPr>
          <a:lstStyle>
            <a:lvl1pPr marL="457114" indent="-457114">
              <a:buFont typeface="+mj-lt"/>
              <a:buNone/>
              <a:tabLst>
                <a:tab pos="1828800" algn="l"/>
              </a:tabLst>
              <a:defRPr sz="24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33" name="Text Placeholder 2"/>
          <p:cNvSpPr>
            <a:spLocks noGrp="1"/>
          </p:cNvSpPr>
          <p:nvPr>
            <p:ph type="body" sz="quarter" idx="25" hasCustomPrompt="1"/>
          </p:nvPr>
        </p:nvSpPr>
        <p:spPr>
          <a:xfrm>
            <a:off x="457200" y="5372100"/>
            <a:ext cx="3543300"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34" name="Text Placeholder 2"/>
          <p:cNvSpPr>
            <a:spLocks noGrp="1"/>
          </p:cNvSpPr>
          <p:nvPr>
            <p:ph type="body" sz="quarter" idx="26" hasCustomPrompt="1"/>
          </p:nvPr>
        </p:nvSpPr>
        <p:spPr>
          <a:xfrm>
            <a:off x="457200" y="5764610"/>
            <a:ext cx="3543300" cy="318060"/>
          </a:xfrm>
          <a:prstGeom prst="rect">
            <a:avLst/>
          </a:prstGeom>
        </p:spPr>
        <p:txBody>
          <a:bodyPr rIns="91440" anchor="b" anchorCtr="0"/>
          <a:lstStyle>
            <a:lvl1pPr>
              <a:defRPr sz="1800" b="0" i="0">
                <a:solidFill>
                  <a:schemeClr val="tx1"/>
                </a:solidFill>
                <a:latin typeface="Segoe UI" charset="0"/>
                <a:ea typeface="Segoe UI" charset="0"/>
                <a:cs typeface="Segoe UI" charset="0"/>
              </a:defRPr>
            </a:lvl1pPr>
          </a:lstStyle>
          <a:p>
            <a:pPr lvl="0"/>
            <a:r>
              <a:rPr lang="en-US" dirty="0"/>
              <a:t>Speaker title</a:t>
            </a:r>
          </a:p>
        </p:txBody>
      </p:sp>
      <p:sp>
        <p:nvSpPr>
          <p:cNvPr id="36"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000500" y="5372100"/>
            <a:ext cx="3508667"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37"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000501" y="5764610"/>
            <a:ext cx="3508666" cy="318060"/>
          </a:xfrm>
          <a:prstGeom prst="rect">
            <a:avLst/>
          </a:prstGeom>
        </p:spPr>
        <p:txBody>
          <a:bodyPr anchor="b" anchorCtr="0"/>
          <a:lstStyle>
            <a:lvl1pPr>
              <a:defRPr sz="1800" b="0" i="0">
                <a:solidFill>
                  <a:schemeClr val="tx1"/>
                </a:solidFill>
                <a:latin typeface="Segoe UI" charset="0"/>
                <a:ea typeface="Segoe UI" charset="0"/>
                <a:cs typeface="Segoe UI" charset="0"/>
              </a:defRPr>
            </a:lvl1pPr>
          </a:lstStyle>
          <a:p>
            <a:pPr lvl="0"/>
            <a:r>
              <a:rPr lang="en-US" dirty="0"/>
              <a:t>Co-speaker title</a:t>
            </a:r>
          </a:p>
        </p:txBody>
      </p:sp>
      <p:sp>
        <p:nvSpPr>
          <p:cNvPr id="3" name="Picture Placeholder 2">
            <a:extLst>
              <a:ext uri="{FF2B5EF4-FFF2-40B4-BE49-F238E27FC236}">
                <a16:creationId xmlns:a16="http://schemas.microsoft.com/office/drawing/2014/main" id="{1B03715C-ACC3-A74C-AF99-A23185CB5518}"/>
              </a:ext>
            </a:extLst>
          </p:cNvPr>
          <p:cNvSpPr>
            <a:spLocks noGrp="1"/>
          </p:cNvSpPr>
          <p:nvPr>
            <p:ph type="pic" sz="quarter" idx="31"/>
          </p:nvPr>
        </p:nvSpPr>
        <p:spPr>
          <a:xfrm>
            <a:off x="457200" y="4644415"/>
            <a:ext cx="723900" cy="723900"/>
          </a:xfrm>
          <a:prstGeom prst="ellipse">
            <a:avLst/>
          </a:prstGeom>
        </p:spPr>
        <p:txBody>
          <a:bodyPr wrap="none" anchor="ctr" anchorCtr="0"/>
          <a:lstStyle>
            <a:lvl1pPr algn="ctr">
              <a:defRPr sz="1200" b="0">
                <a:solidFill>
                  <a:srgbClr val="B4009E"/>
                </a:solidFill>
              </a:defRPr>
            </a:lvl1pPr>
          </a:lstStyle>
          <a:p>
            <a:r>
              <a:rPr lang="en-US" dirty="0"/>
              <a:t>Click icon to add picture</a:t>
            </a:r>
          </a:p>
        </p:txBody>
      </p:sp>
      <p:sp>
        <p:nvSpPr>
          <p:cNvPr id="21" name="Picture Placeholder 2">
            <a:extLst>
              <a:ext uri="{FF2B5EF4-FFF2-40B4-BE49-F238E27FC236}">
                <a16:creationId xmlns:a16="http://schemas.microsoft.com/office/drawing/2014/main" id="{A01D6265-C0A3-A24A-BA21-3D49432304F4}"/>
              </a:ext>
            </a:extLst>
          </p:cNvPr>
          <p:cNvSpPr>
            <a:spLocks noGrp="1"/>
          </p:cNvSpPr>
          <p:nvPr>
            <p:ph type="pic" sz="quarter" idx="32"/>
          </p:nvPr>
        </p:nvSpPr>
        <p:spPr>
          <a:xfrm>
            <a:off x="4010628" y="4630768"/>
            <a:ext cx="723900" cy="723900"/>
          </a:xfrm>
          <a:prstGeom prst="ellipse">
            <a:avLst/>
          </a:prstGeom>
        </p:spPr>
        <p:txBody>
          <a:bodyPr wrap="none" anchor="ctr" anchorCtr="0"/>
          <a:lstStyle>
            <a:lvl1pPr algn="ctr">
              <a:defRPr sz="1200" b="0">
                <a:solidFill>
                  <a:srgbClr val="B4009E"/>
                </a:solidFill>
              </a:defRPr>
            </a:lvl1pPr>
          </a:lstStyle>
          <a:p>
            <a:r>
              <a:rPr lang="en-US"/>
              <a:t>Click icon to add picture</a:t>
            </a:r>
          </a:p>
        </p:txBody>
      </p:sp>
      <p:pic>
        <p:nvPicPr>
          <p:cNvPr id="15" name="Picture 14">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24218706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Picture 6">
            <a:extLst>
              <a:ext uri="{FF2B5EF4-FFF2-40B4-BE49-F238E27FC236}">
                <a16:creationId xmlns:a16="http://schemas.microsoft.com/office/drawing/2014/main" id="{23FA8978-02B3-4541-BCF6-2F788A6CC40F}"/>
              </a:ext>
            </a:extLst>
          </p:cNvPr>
          <p:cNvPicPr>
            <a:picLocks noChangeAspect="1"/>
          </p:cNvPicPr>
          <p:nvPr userDrawn="1"/>
        </p:nvPicPr>
        <p:blipFill>
          <a:blip r:embed="rId3"/>
          <a:stretch>
            <a:fillRect/>
          </a:stretch>
        </p:blipFill>
        <p:spPr>
          <a:xfrm>
            <a:off x="5926306" y="2312052"/>
            <a:ext cx="5673389" cy="2233897"/>
          </a:xfrm>
          <a:prstGeom prst="rect">
            <a:avLst/>
          </a:prstGeom>
        </p:spPr>
      </p:pic>
    </p:spTree>
    <p:extLst>
      <p:ext uri="{BB962C8B-B14F-4D97-AF65-F5344CB8AC3E}">
        <p14:creationId xmlns:p14="http://schemas.microsoft.com/office/powerpoint/2010/main" val="312603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4" name="Picture 3">
            <a:extLst>
              <a:ext uri="{FF2B5EF4-FFF2-40B4-BE49-F238E27FC236}">
                <a16:creationId xmlns:a16="http://schemas.microsoft.com/office/drawing/2014/main" id="{A8E740F6-F682-4A53-B8F9-F70CC558BB66}"/>
              </a:ext>
            </a:extLst>
          </p:cNvPr>
          <p:cNvPicPr>
            <a:picLocks noChangeAspect="1"/>
          </p:cNvPicPr>
          <p:nvPr userDrawn="1"/>
        </p:nvPicPr>
        <p:blipFill>
          <a:blip r:embed="rId3"/>
          <a:stretch>
            <a:fillRect/>
          </a:stretch>
        </p:blipFill>
        <p:spPr>
          <a:xfrm>
            <a:off x="5926306" y="2312052"/>
            <a:ext cx="5673389" cy="2233897"/>
          </a:xfrm>
          <a:prstGeom prst="rect">
            <a:avLst/>
          </a:prstGeom>
        </p:spPr>
      </p:pic>
    </p:spTree>
    <p:extLst>
      <p:ext uri="{BB962C8B-B14F-4D97-AF65-F5344CB8AC3E}">
        <p14:creationId xmlns:p14="http://schemas.microsoft.com/office/powerpoint/2010/main" val="719979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00240D"/>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EC821D64-7009-4A41-B38C-1FB61D7E5F75}"/>
              </a:ext>
            </a:extLst>
          </p:cNvPr>
          <p:cNvPicPr>
            <a:picLocks noChangeAspect="1"/>
          </p:cNvPicPr>
          <p:nvPr userDrawn="1"/>
        </p:nvPicPr>
        <p:blipFill>
          <a:blip r:embed="rId3"/>
          <a:stretch>
            <a:fillRect/>
          </a:stretch>
        </p:blipFill>
        <p:spPr>
          <a:xfrm>
            <a:off x="5926306" y="2312052"/>
            <a:ext cx="5673389" cy="2233897"/>
          </a:xfrm>
          <a:prstGeom prst="rect">
            <a:avLst/>
          </a:prstGeom>
        </p:spPr>
      </p:pic>
    </p:spTree>
    <p:extLst>
      <p:ext uri="{BB962C8B-B14F-4D97-AF65-F5344CB8AC3E}">
        <p14:creationId xmlns:p14="http://schemas.microsoft.com/office/powerpoint/2010/main" val="54589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360889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30605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75864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rgbClr val="000000"/>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75096FF-13CC-0248-B6F1-88D5C0332823}"/>
              </a:ext>
            </a:extLst>
          </p:cNvPr>
          <p:cNvSpPr>
            <a:spLocks noGrp="1"/>
          </p:cNvSpPr>
          <p:nvPr>
            <p:ph type="title" hasCustomPrompt="1"/>
          </p:nvPr>
        </p:nvSpPr>
        <p:spPr>
          <a:xfrm>
            <a:off x="360001" y="3231855"/>
            <a:ext cx="6931447" cy="2171417"/>
          </a:xfrm>
          <a:noFill/>
        </p:spPr>
        <p:txBody>
          <a:bodyPr lIns="0" tIns="0" rIns="0" bIns="182880" anchor="b" anchorCtr="0"/>
          <a:lstStyle>
            <a:lvl1pPr defTabSz="914367">
              <a:defRPr sz="4800" strike="noStrike" spc="-49" baseline="0">
                <a:solidFill>
                  <a:schemeClr val="bg1"/>
                </a:solidFill>
              </a:defRPr>
            </a:lvl1pPr>
          </a:lstStyle>
          <a:p>
            <a:pPr defTabSz="914367"/>
            <a:r>
              <a:rPr lang="en-US" sz="4902" spc="-49" dirty="0">
                <a:solidFill>
                  <a:srgbClr val="FFFFFF"/>
                </a:solidFill>
                <a:latin typeface="+mj-lt"/>
              </a:rPr>
              <a:t>Azure Training Day: </a:t>
            </a:r>
            <a:br>
              <a:rPr lang="en-US" sz="4902" spc="-49" dirty="0">
                <a:solidFill>
                  <a:srgbClr val="0078D3"/>
                </a:solidFill>
                <a:latin typeface="+mj-lt"/>
              </a:rPr>
            </a:br>
            <a:r>
              <a:rPr lang="en-US" sz="4902" spc="-49" dirty="0">
                <a:solidFill>
                  <a:srgbClr val="50E6FF"/>
                </a:solidFill>
                <a:latin typeface="+mj-lt"/>
              </a:rPr>
              <a:t>Learn, architect and developer</a:t>
            </a:r>
            <a:br>
              <a:rPr lang="en-US" sz="4902" spc="-49" dirty="0">
                <a:solidFill>
                  <a:srgbClr val="50E6FF"/>
                </a:solidFill>
                <a:latin typeface="+mj-lt"/>
              </a:rPr>
            </a:br>
            <a:r>
              <a:rPr lang="en-US" sz="4902" spc="-49" dirty="0">
                <a:solidFill>
                  <a:srgbClr val="50E6FF"/>
                </a:solidFill>
                <a:latin typeface="+mj-lt"/>
              </a:rPr>
              <a:t>solutions on Azure</a:t>
            </a:r>
          </a:p>
        </p:txBody>
      </p:sp>
      <p:pic>
        <p:nvPicPr>
          <p:cNvPr id="6" name="Picture 5">
            <a:extLst>
              <a:ext uri="{FF2B5EF4-FFF2-40B4-BE49-F238E27FC236}">
                <a16:creationId xmlns:a16="http://schemas.microsoft.com/office/drawing/2014/main" id="{414E37FF-12F6-394D-83D1-D72C5CB1EF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grpSp>
        <p:nvGrpSpPr>
          <p:cNvPr id="2" name="Group 1">
            <a:extLst>
              <a:ext uri="{FF2B5EF4-FFF2-40B4-BE49-F238E27FC236}">
                <a16:creationId xmlns:a16="http://schemas.microsoft.com/office/drawing/2014/main" id="{CE890B2B-4A87-47BF-ABDC-17FD33799129}"/>
              </a:ext>
            </a:extLst>
          </p:cNvPr>
          <p:cNvGrpSpPr/>
          <p:nvPr userDrawn="1"/>
        </p:nvGrpSpPr>
        <p:grpSpPr>
          <a:xfrm>
            <a:off x="8481525" y="1834556"/>
            <a:ext cx="2844162" cy="3775004"/>
            <a:chOff x="8481525" y="1834556"/>
            <a:chExt cx="2844162" cy="3775004"/>
          </a:xfrm>
        </p:grpSpPr>
        <p:pic>
          <p:nvPicPr>
            <p:cNvPr id="9" name="Picture 8">
              <a:extLst>
                <a:ext uri="{FF2B5EF4-FFF2-40B4-BE49-F238E27FC236}">
                  <a16:creationId xmlns:a16="http://schemas.microsoft.com/office/drawing/2014/main" id="{57ACC723-8B0A-429E-BF99-C0A3279D5A30}"/>
                </a:ext>
              </a:extLst>
            </p:cNvPr>
            <p:cNvPicPr>
              <a:picLocks noChangeAspect="1"/>
            </p:cNvPicPr>
            <p:nvPr userDrawn="1"/>
          </p:nvPicPr>
          <p:blipFill>
            <a:blip r:embed="rId3"/>
            <a:stretch>
              <a:fillRect/>
            </a:stretch>
          </p:blipFill>
          <p:spPr>
            <a:xfrm>
              <a:off x="9633198" y="3834724"/>
              <a:ext cx="594360" cy="594360"/>
            </a:xfrm>
            <a:prstGeom prst="rect">
              <a:avLst/>
            </a:prstGeom>
          </p:spPr>
        </p:pic>
        <p:pic>
          <p:nvPicPr>
            <p:cNvPr id="10" name="Picture 9">
              <a:extLst>
                <a:ext uri="{FF2B5EF4-FFF2-40B4-BE49-F238E27FC236}">
                  <a16:creationId xmlns:a16="http://schemas.microsoft.com/office/drawing/2014/main" id="{FD879010-2BA5-4ADA-86DD-432222904198}"/>
                </a:ext>
              </a:extLst>
            </p:cNvPr>
            <p:cNvPicPr>
              <a:picLocks noChangeAspect="1"/>
            </p:cNvPicPr>
            <p:nvPr userDrawn="1"/>
          </p:nvPicPr>
          <p:blipFill>
            <a:blip r:embed="rId4"/>
            <a:stretch>
              <a:fillRect/>
            </a:stretch>
          </p:blipFill>
          <p:spPr>
            <a:xfrm>
              <a:off x="10731327" y="1834556"/>
              <a:ext cx="594360" cy="594360"/>
            </a:xfrm>
            <a:prstGeom prst="rect">
              <a:avLst/>
            </a:prstGeom>
          </p:spPr>
        </p:pic>
        <p:pic>
          <p:nvPicPr>
            <p:cNvPr id="11" name="Picture 10">
              <a:extLst>
                <a:ext uri="{FF2B5EF4-FFF2-40B4-BE49-F238E27FC236}">
                  <a16:creationId xmlns:a16="http://schemas.microsoft.com/office/drawing/2014/main" id="{E5DCD107-382E-4D1A-A3B9-89F578F4AD7C}"/>
                </a:ext>
              </a:extLst>
            </p:cNvPr>
            <p:cNvPicPr>
              <a:picLocks noChangeAspect="1"/>
            </p:cNvPicPr>
            <p:nvPr userDrawn="1"/>
          </p:nvPicPr>
          <p:blipFill>
            <a:blip r:embed="rId5"/>
            <a:stretch>
              <a:fillRect/>
            </a:stretch>
          </p:blipFill>
          <p:spPr>
            <a:xfrm>
              <a:off x="8481525" y="2834640"/>
              <a:ext cx="594360" cy="594360"/>
            </a:xfrm>
            <a:prstGeom prst="rect">
              <a:avLst/>
            </a:prstGeom>
          </p:spPr>
        </p:pic>
        <p:pic>
          <p:nvPicPr>
            <p:cNvPr id="12" name="Picture 11">
              <a:extLst>
                <a:ext uri="{FF2B5EF4-FFF2-40B4-BE49-F238E27FC236}">
                  <a16:creationId xmlns:a16="http://schemas.microsoft.com/office/drawing/2014/main" id="{B244B066-747D-47EC-A7D2-ECE2D4D79D0C}"/>
                </a:ext>
              </a:extLst>
            </p:cNvPr>
            <p:cNvPicPr>
              <a:picLocks noChangeAspect="1"/>
            </p:cNvPicPr>
            <p:nvPr userDrawn="1"/>
          </p:nvPicPr>
          <p:blipFill>
            <a:blip r:embed="rId6"/>
            <a:stretch>
              <a:fillRect/>
            </a:stretch>
          </p:blipFill>
          <p:spPr>
            <a:xfrm>
              <a:off x="9633198" y="2867584"/>
              <a:ext cx="594360" cy="493171"/>
            </a:xfrm>
            <a:prstGeom prst="rect">
              <a:avLst/>
            </a:prstGeom>
          </p:spPr>
        </p:pic>
        <p:pic>
          <p:nvPicPr>
            <p:cNvPr id="14" name="Picture 13">
              <a:extLst>
                <a:ext uri="{FF2B5EF4-FFF2-40B4-BE49-F238E27FC236}">
                  <a16:creationId xmlns:a16="http://schemas.microsoft.com/office/drawing/2014/main" id="{89190118-51B5-40B5-BDCE-69BFE691ED05}"/>
                </a:ext>
              </a:extLst>
            </p:cNvPr>
            <p:cNvPicPr>
              <a:picLocks noChangeAspect="1"/>
            </p:cNvPicPr>
            <p:nvPr userDrawn="1"/>
          </p:nvPicPr>
          <p:blipFill>
            <a:blip r:embed="rId7"/>
            <a:stretch>
              <a:fillRect/>
            </a:stretch>
          </p:blipFill>
          <p:spPr>
            <a:xfrm>
              <a:off x="9633198" y="1834556"/>
              <a:ext cx="594360" cy="594360"/>
            </a:xfrm>
            <a:prstGeom prst="rect">
              <a:avLst/>
            </a:prstGeom>
          </p:spPr>
        </p:pic>
        <p:pic>
          <p:nvPicPr>
            <p:cNvPr id="15" name="Picture 14">
              <a:extLst>
                <a:ext uri="{FF2B5EF4-FFF2-40B4-BE49-F238E27FC236}">
                  <a16:creationId xmlns:a16="http://schemas.microsoft.com/office/drawing/2014/main" id="{9EB7BB85-E6F0-42CC-BAE4-3FC8F3C36E0C}"/>
                </a:ext>
              </a:extLst>
            </p:cNvPr>
            <p:cNvPicPr>
              <a:picLocks noChangeAspect="1"/>
            </p:cNvPicPr>
            <p:nvPr userDrawn="1"/>
          </p:nvPicPr>
          <p:blipFill>
            <a:blip r:embed="rId8"/>
            <a:stretch>
              <a:fillRect/>
            </a:stretch>
          </p:blipFill>
          <p:spPr>
            <a:xfrm>
              <a:off x="8481525" y="1834556"/>
              <a:ext cx="594360" cy="594360"/>
            </a:xfrm>
            <a:prstGeom prst="rect">
              <a:avLst/>
            </a:prstGeom>
          </p:spPr>
        </p:pic>
        <p:pic>
          <p:nvPicPr>
            <p:cNvPr id="16" name="Picture 15">
              <a:extLst>
                <a:ext uri="{FF2B5EF4-FFF2-40B4-BE49-F238E27FC236}">
                  <a16:creationId xmlns:a16="http://schemas.microsoft.com/office/drawing/2014/main" id="{0B0E0663-AD89-4AC8-8010-AB75DAE0B20E}"/>
                </a:ext>
              </a:extLst>
            </p:cNvPr>
            <p:cNvPicPr>
              <a:picLocks noChangeAspect="1"/>
            </p:cNvPicPr>
            <p:nvPr userDrawn="1"/>
          </p:nvPicPr>
          <p:blipFill>
            <a:blip r:embed="rId9"/>
            <a:stretch>
              <a:fillRect/>
            </a:stretch>
          </p:blipFill>
          <p:spPr>
            <a:xfrm>
              <a:off x="8490069" y="3834724"/>
              <a:ext cx="594360" cy="594360"/>
            </a:xfrm>
            <a:prstGeom prst="rect">
              <a:avLst/>
            </a:prstGeom>
          </p:spPr>
        </p:pic>
        <p:pic>
          <p:nvPicPr>
            <p:cNvPr id="17" name="Picture 16">
              <a:extLst>
                <a:ext uri="{FF2B5EF4-FFF2-40B4-BE49-F238E27FC236}">
                  <a16:creationId xmlns:a16="http://schemas.microsoft.com/office/drawing/2014/main" id="{CE957CD3-70DC-4100-A225-7B592B67F885}"/>
                </a:ext>
              </a:extLst>
            </p:cNvPr>
            <p:cNvPicPr>
              <a:picLocks noChangeAspect="1"/>
            </p:cNvPicPr>
            <p:nvPr userDrawn="1"/>
          </p:nvPicPr>
          <p:blipFill>
            <a:blip r:embed="rId10"/>
            <a:stretch>
              <a:fillRect/>
            </a:stretch>
          </p:blipFill>
          <p:spPr>
            <a:xfrm>
              <a:off x="10731327" y="2972070"/>
              <a:ext cx="594360" cy="259786"/>
            </a:xfrm>
            <a:prstGeom prst="rect">
              <a:avLst/>
            </a:prstGeom>
          </p:spPr>
        </p:pic>
        <p:pic>
          <p:nvPicPr>
            <p:cNvPr id="18" name="Picture 17">
              <a:extLst>
                <a:ext uri="{FF2B5EF4-FFF2-40B4-BE49-F238E27FC236}">
                  <a16:creationId xmlns:a16="http://schemas.microsoft.com/office/drawing/2014/main" id="{216E37C7-D8FB-42AE-BCF0-63E6A65201AD}"/>
                </a:ext>
              </a:extLst>
            </p:cNvPr>
            <p:cNvPicPr>
              <a:picLocks noChangeAspect="1"/>
            </p:cNvPicPr>
            <p:nvPr userDrawn="1"/>
          </p:nvPicPr>
          <p:blipFill>
            <a:blip r:embed="rId11"/>
            <a:stretch>
              <a:fillRect/>
            </a:stretch>
          </p:blipFill>
          <p:spPr>
            <a:xfrm>
              <a:off x="10731327" y="4000752"/>
              <a:ext cx="594360" cy="262304"/>
            </a:xfrm>
            <a:prstGeom prst="rect">
              <a:avLst/>
            </a:prstGeom>
          </p:spPr>
        </p:pic>
        <p:pic>
          <p:nvPicPr>
            <p:cNvPr id="19" name="Picture 18">
              <a:extLst>
                <a:ext uri="{FF2B5EF4-FFF2-40B4-BE49-F238E27FC236}">
                  <a16:creationId xmlns:a16="http://schemas.microsoft.com/office/drawing/2014/main" id="{CFBEBE55-430D-469B-863D-CF0F3398BD70}"/>
                </a:ext>
              </a:extLst>
            </p:cNvPr>
            <p:cNvPicPr>
              <a:picLocks noChangeAspect="1"/>
            </p:cNvPicPr>
            <p:nvPr userDrawn="1"/>
          </p:nvPicPr>
          <p:blipFill>
            <a:blip r:embed="rId12"/>
            <a:stretch>
              <a:fillRect/>
            </a:stretch>
          </p:blipFill>
          <p:spPr>
            <a:xfrm>
              <a:off x="8582907" y="5015200"/>
              <a:ext cx="408683" cy="594360"/>
            </a:xfrm>
            <a:prstGeom prst="rect">
              <a:avLst/>
            </a:prstGeom>
          </p:spPr>
        </p:pic>
        <p:pic>
          <p:nvPicPr>
            <p:cNvPr id="20" name="Picture 19">
              <a:extLst>
                <a:ext uri="{FF2B5EF4-FFF2-40B4-BE49-F238E27FC236}">
                  <a16:creationId xmlns:a16="http://schemas.microsoft.com/office/drawing/2014/main" id="{AC9C76CB-E61E-4101-8CD5-48724D444971}"/>
                </a:ext>
              </a:extLst>
            </p:cNvPr>
            <p:cNvPicPr>
              <a:picLocks noChangeAspect="1"/>
            </p:cNvPicPr>
            <p:nvPr userDrawn="1"/>
          </p:nvPicPr>
          <p:blipFill>
            <a:blip r:embed="rId13"/>
            <a:stretch>
              <a:fillRect/>
            </a:stretch>
          </p:blipFill>
          <p:spPr>
            <a:xfrm>
              <a:off x="9633198" y="5089372"/>
              <a:ext cx="594360" cy="446015"/>
            </a:xfrm>
            <a:prstGeom prst="rect">
              <a:avLst/>
            </a:prstGeom>
          </p:spPr>
        </p:pic>
        <p:pic>
          <p:nvPicPr>
            <p:cNvPr id="21" name="Picture 20">
              <a:extLst>
                <a:ext uri="{FF2B5EF4-FFF2-40B4-BE49-F238E27FC236}">
                  <a16:creationId xmlns:a16="http://schemas.microsoft.com/office/drawing/2014/main" id="{AF46E7AC-A6D0-40E5-AC0C-4C2C29F3B2E0}"/>
                </a:ext>
              </a:extLst>
            </p:cNvPr>
            <p:cNvPicPr>
              <a:picLocks noChangeAspect="1"/>
            </p:cNvPicPr>
            <p:nvPr userDrawn="1"/>
          </p:nvPicPr>
          <p:blipFill>
            <a:blip r:embed="rId14"/>
            <a:stretch>
              <a:fillRect/>
            </a:stretch>
          </p:blipFill>
          <p:spPr>
            <a:xfrm>
              <a:off x="10731327" y="5054172"/>
              <a:ext cx="594360" cy="446015"/>
            </a:xfrm>
            <a:prstGeom prst="rect">
              <a:avLst/>
            </a:prstGeom>
          </p:spPr>
        </p:pic>
      </p:grpSp>
    </p:spTree>
    <p:extLst>
      <p:ext uri="{BB962C8B-B14F-4D97-AF65-F5344CB8AC3E}">
        <p14:creationId xmlns:p14="http://schemas.microsoft.com/office/powerpoint/2010/main" val="385381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9500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61366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73250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05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304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3300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6087793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0302374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6" name="Picture 5">
            <a:extLst>
              <a:ext uri="{FF2B5EF4-FFF2-40B4-BE49-F238E27FC236}">
                <a16:creationId xmlns:a16="http://schemas.microsoft.com/office/drawing/2014/main" id="{57387FE4-3EBA-4EC1-809B-BFA952A5C33B}"/>
              </a:ext>
            </a:extLst>
          </p:cNvPr>
          <p:cNvPicPr>
            <a:picLocks noChangeAspect="1"/>
          </p:cNvPicPr>
          <p:nvPr userDrawn="1"/>
        </p:nvPicPr>
        <p:blipFill>
          <a:blip r:embed="rId2"/>
          <a:stretch>
            <a:fillRect/>
          </a:stretch>
        </p:blipFill>
        <p:spPr>
          <a:xfrm>
            <a:off x="8338557" y="4984965"/>
            <a:ext cx="3261138" cy="1284073"/>
          </a:xfrm>
          <a:prstGeom prst="rect">
            <a:avLst/>
          </a:prstGeom>
        </p:spPr>
      </p:pic>
    </p:spTree>
    <p:extLst>
      <p:ext uri="{BB962C8B-B14F-4D97-AF65-F5344CB8AC3E}">
        <p14:creationId xmlns:p14="http://schemas.microsoft.com/office/powerpoint/2010/main" val="254760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432716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0578747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4" name="Picture 3">
            <a:extLst>
              <a:ext uri="{FF2B5EF4-FFF2-40B4-BE49-F238E27FC236}">
                <a16:creationId xmlns:a16="http://schemas.microsoft.com/office/drawing/2014/main" id="{C22AD601-C60B-44FE-9AB7-586AE7A20A4D}"/>
              </a:ext>
            </a:extLst>
          </p:cNvPr>
          <p:cNvPicPr>
            <a:picLocks noChangeAspect="1"/>
          </p:cNvPicPr>
          <p:nvPr userDrawn="1"/>
        </p:nvPicPr>
        <p:blipFill>
          <a:blip r:embed="rId2"/>
          <a:stretch>
            <a:fillRect/>
          </a:stretch>
        </p:blipFill>
        <p:spPr>
          <a:xfrm>
            <a:off x="8338557" y="4984965"/>
            <a:ext cx="3261138" cy="1284073"/>
          </a:xfrm>
          <a:prstGeom prst="rect">
            <a:avLst/>
          </a:prstGeom>
        </p:spPr>
      </p:pic>
    </p:spTree>
    <p:extLst>
      <p:ext uri="{BB962C8B-B14F-4D97-AF65-F5344CB8AC3E}">
        <p14:creationId xmlns:p14="http://schemas.microsoft.com/office/powerpoint/2010/main" val="3600134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1697608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pic>
        <p:nvPicPr>
          <p:cNvPr id="4" name="Picture 3">
            <a:extLst>
              <a:ext uri="{FF2B5EF4-FFF2-40B4-BE49-F238E27FC236}">
                <a16:creationId xmlns:a16="http://schemas.microsoft.com/office/drawing/2014/main" id="{0CAD36FB-F281-4966-BFEA-EFEAA6B09124}"/>
              </a:ext>
            </a:extLst>
          </p:cNvPr>
          <p:cNvPicPr>
            <a:picLocks noChangeAspect="1"/>
          </p:cNvPicPr>
          <p:nvPr userDrawn="1"/>
        </p:nvPicPr>
        <p:blipFill>
          <a:blip r:embed="rId2"/>
          <a:stretch>
            <a:fillRect/>
          </a:stretch>
        </p:blipFill>
        <p:spPr>
          <a:xfrm>
            <a:off x="8338557" y="4984965"/>
            <a:ext cx="3261138" cy="1284073"/>
          </a:xfrm>
          <a:prstGeom prst="rect">
            <a:avLst/>
          </a:prstGeom>
        </p:spPr>
      </p:pic>
    </p:spTree>
    <p:extLst>
      <p:ext uri="{BB962C8B-B14F-4D97-AF65-F5344CB8AC3E}">
        <p14:creationId xmlns:p14="http://schemas.microsoft.com/office/powerpoint/2010/main" val="2078261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940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989591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285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48781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2117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9972767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lumMod val="50000"/>
          </a:schemeClr>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2532448"/>
            <a:ext cx="9630389" cy="1793104"/>
          </a:xfrm>
          <a:noFill/>
        </p:spPr>
        <p:txBody>
          <a:bodyPr lIns="0" tIns="0" rIns="0" bIns="182880" anchor="b" anchorCtr="0"/>
          <a:lstStyle>
            <a:lvl1pPr>
              <a:defRPr sz="4705" strike="noStrike" spc="-49" baseline="0">
                <a:solidFill>
                  <a:schemeClr val="bg1"/>
                </a:solidFill>
              </a:defRPr>
            </a:lvl1pPr>
          </a:lstStyle>
          <a:p>
            <a:r>
              <a:rPr lang="en-US" dirty="0"/>
              <a:t>Azure Dev Days</a:t>
            </a:r>
            <a:br>
              <a:rPr lang="en-US" dirty="0"/>
            </a:br>
            <a:r>
              <a:rPr lang="en-US" dirty="0"/>
              <a:t>Presentation title goes her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8" name="Text Placeholder 10">
            <a:extLst>
              <a:ext uri="{FF2B5EF4-FFF2-40B4-BE49-F238E27FC236}">
                <a16:creationId xmlns:a16="http://schemas.microsoft.com/office/drawing/2014/main" id="{5E9C4516-26FA-2F40-A2E5-1BD96936FD8E}"/>
              </a:ext>
            </a:extLst>
          </p:cNvPr>
          <p:cNvSpPr>
            <a:spLocks noGrp="1"/>
          </p:cNvSpPr>
          <p:nvPr>
            <p:ph type="body" sz="quarter" idx="16" hasCustomPrompt="1"/>
          </p:nvPr>
        </p:nvSpPr>
        <p:spPr>
          <a:xfrm>
            <a:off x="464841" y="5669516"/>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dirty="0"/>
              <a:t>Speaker name</a:t>
            </a:r>
          </a:p>
          <a:p>
            <a:pPr lvl="1"/>
            <a:r>
              <a:rPr lang="en-US" dirty="0"/>
              <a:t>Date</a:t>
            </a:r>
          </a:p>
        </p:txBody>
      </p:sp>
    </p:spTree>
    <p:extLst>
      <p:ext uri="{BB962C8B-B14F-4D97-AF65-F5344CB8AC3E}">
        <p14:creationId xmlns:p14="http://schemas.microsoft.com/office/powerpoint/2010/main" val="2408686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95281639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2532448"/>
            <a:ext cx="9630389" cy="1793104"/>
          </a:xfrm>
          <a:noFill/>
        </p:spPr>
        <p:txBody>
          <a:bodyPr lIns="0" tIns="0" rIns="0" bIns="182880" anchor="b" anchorCtr="0"/>
          <a:lstStyle>
            <a:lvl1pPr>
              <a:defRPr sz="4705" strike="noStrike" spc="-49" baseline="0">
                <a:solidFill>
                  <a:schemeClr val="bg1"/>
                </a:solidFill>
              </a:defRPr>
            </a:lvl1pPr>
          </a:lstStyle>
          <a:p>
            <a:r>
              <a:rPr lang="en-US" dirty="0"/>
              <a:t>Azure Dev Days</a:t>
            </a:r>
            <a:br>
              <a:rPr lang="en-US" dirty="0"/>
            </a:br>
            <a:r>
              <a:rPr lang="en-US" dirty="0"/>
              <a:t>Presentation title goes her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8" name="Text Placeholder 10">
            <a:extLst>
              <a:ext uri="{FF2B5EF4-FFF2-40B4-BE49-F238E27FC236}">
                <a16:creationId xmlns:a16="http://schemas.microsoft.com/office/drawing/2014/main" id="{A462A60B-A69E-F345-8342-7A4E3F4B69A9}"/>
              </a:ext>
            </a:extLst>
          </p:cNvPr>
          <p:cNvSpPr>
            <a:spLocks noGrp="1"/>
          </p:cNvSpPr>
          <p:nvPr>
            <p:ph type="body" sz="quarter" idx="16" hasCustomPrompt="1"/>
          </p:nvPr>
        </p:nvSpPr>
        <p:spPr>
          <a:xfrm>
            <a:off x="464841" y="5669516"/>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dirty="0"/>
              <a:t>Speaker name</a:t>
            </a:r>
          </a:p>
          <a:p>
            <a:pPr lvl="1"/>
            <a:r>
              <a:rPr lang="en-US" dirty="0"/>
              <a:t>Date</a:t>
            </a:r>
          </a:p>
        </p:txBody>
      </p:sp>
    </p:spTree>
    <p:extLst>
      <p:ext uri="{BB962C8B-B14F-4D97-AF65-F5344CB8AC3E}">
        <p14:creationId xmlns:p14="http://schemas.microsoft.com/office/powerpoint/2010/main" val="2671461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rgbClr val="000000"/>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75096FF-13CC-0248-B6F1-88D5C0332823}"/>
              </a:ext>
            </a:extLst>
          </p:cNvPr>
          <p:cNvSpPr>
            <a:spLocks noGrp="1"/>
          </p:cNvSpPr>
          <p:nvPr>
            <p:ph type="title" hasCustomPrompt="1"/>
          </p:nvPr>
        </p:nvSpPr>
        <p:spPr>
          <a:xfrm>
            <a:off x="360001" y="3231855"/>
            <a:ext cx="6931447" cy="2171417"/>
          </a:xfrm>
          <a:noFill/>
        </p:spPr>
        <p:txBody>
          <a:bodyPr lIns="0" tIns="0" rIns="0" bIns="182880" anchor="b" anchorCtr="0"/>
          <a:lstStyle>
            <a:lvl1pPr defTabSz="914367">
              <a:defRPr sz="4800" strike="noStrike" spc="-49" baseline="0">
                <a:solidFill>
                  <a:schemeClr val="bg1"/>
                </a:solidFill>
              </a:defRPr>
            </a:lvl1pPr>
          </a:lstStyle>
          <a:p>
            <a:pPr defTabSz="914367"/>
            <a:r>
              <a:rPr lang="en-US" sz="4902" spc="-49" dirty="0">
                <a:solidFill>
                  <a:srgbClr val="FFFFFF"/>
                </a:solidFill>
                <a:latin typeface="+mj-lt"/>
              </a:rPr>
              <a:t>Azure Training Day: </a:t>
            </a:r>
            <a:br>
              <a:rPr lang="en-US" sz="4902" spc="-49" dirty="0">
                <a:solidFill>
                  <a:srgbClr val="0078D3"/>
                </a:solidFill>
                <a:latin typeface="+mj-lt"/>
              </a:rPr>
            </a:br>
            <a:r>
              <a:rPr lang="en-US" sz="4902" spc="-49" dirty="0">
                <a:solidFill>
                  <a:srgbClr val="50E6FF"/>
                </a:solidFill>
                <a:latin typeface="+mj-lt"/>
              </a:rPr>
              <a:t>Learn, architect and developer</a:t>
            </a:r>
            <a:br>
              <a:rPr lang="en-US" sz="4902" spc="-49" dirty="0">
                <a:solidFill>
                  <a:srgbClr val="50E6FF"/>
                </a:solidFill>
                <a:latin typeface="+mj-lt"/>
              </a:rPr>
            </a:br>
            <a:r>
              <a:rPr lang="en-US" sz="4902" spc="-49" dirty="0">
                <a:solidFill>
                  <a:srgbClr val="50E6FF"/>
                </a:solidFill>
                <a:latin typeface="+mj-lt"/>
              </a:rPr>
              <a:t>solutions on Azure</a:t>
            </a:r>
          </a:p>
        </p:txBody>
      </p:sp>
      <p:pic>
        <p:nvPicPr>
          <p:cNvPr id="6" name="Picture 5">
            <a:extLst>
              <a:ext uri="{FF2B5EF4-FFF2-40B4-BE49-F238E27FC236}">
                <a16:creationId xmlns:a16="http://schemas.microsoft.com/office/drawing/2014/main" id="{414E37FF-12F6-394D-83D1-D72C5CB1EF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grpSp>
        <p:nvGrpSpPr>
          <p:cNvPr id="2" name="Group 1">
            <a:extLst>
              <a:ext uri="{FF2B5EF4-FFF2-40B4-BE49-F238E27FC236}">
                <a16:creationId xmlns:a16="http://schemas.microsoft.com/office/drawing/2014/main" id="{CE890B2B-4A87-47BF-ABDC-17FD33799129}"/>
              </a:ext>
            </a:extLst>
          </p:cNvPr>
          <p:cNvGrpSpPr/>
          <p:nvPr userDrawn="1"/>
        </p:nvGrpSpPr>
        <p:grpSpPr>
          <a:xfrm>
            <a:off x="8481525" y="1834556"/>
            <a:ext cx="2844162" cy="3775004"/>
            <a:chOff x="8481525" y="1834556"/>
            <a:chExt cx="2844162" cy="3775004"/>
          </a:xfrm>
        </p:grpSpPr>
        <p:pic>
          <p:nvPicPr>
            <p:cNvPr id="9" name="Picture 8">
              <a:extLst>
                <a:ext uri="{FF2B5EF4-FFF2-40B4-BE49-F238E27FC236}">
                  <a16:creationId xmlns:a16="http://schemas.microsoft.com/office/drawing/2014/main" id="{57ACC723-8B0A-429E-BF99-C0A3279D5A30}"/>
                </a:ext>
              </a:extLst>
            </p:cNvPr>
            <p:cNvPicPr>
              <a:picLocks noChangeAspect="1"/>
            </p:cNvPicPr>
            <p:nvPr userDrawn="1"/>
          </p:nvPicPr>
          <p:blipFill>
            <a:blip r:embed="rId3"/>
            <a:stretch>
              <a:fillRect/>
            </a:stretch>
          </p:blipFill>
          <p:spPr>
            <a:xfrm>
              <a:off x="9633198" y="3834724"/>
              <a:ext cx="594360" cy="594360"/>
            </a:xfrm>
            <a:prstGeom prst="rect">
              <a:avLst/>
            </a:prstGeom>
          </p:spPr>
        </p:pic>
        <p:pic>
          <p:nvPicPr>
            <p:cNvPr id="10" name="Picture 9">
              <a:extLst>
                <a:ext uri="{FF2B5EF4-FFF2-40B4-BE49-F238E27FC236}">
                  <a16:creationId xmlns:a16="http://schemas.microsoft.com/office/drawing/2014/main" id="{FD879010-2BA5-4ADA-86DD-432222904198}"/>
                </a:ext>
              </a:extLst>
            </p:cNvPr>
            <p:cNvPicPr>
              <a:picLocks noChangeAspect="1"/>
            </p:cNvPicPr>
            <p:nvPr userDrawn="1"/>
          </p:nvPicPr>
          <p:blipFill>
            <a:blip r:embed="rId4"/>
            <a:stretch>
              <a:fillRect/>
            </a:stretch>
          </p:blipFill>
          <p:spPr>
            <a:xfrm>
              <a:off x="10731327" y="1834556"/>
              <a:ext cx="594360" cy="594360"/>
            </a:xfrm>
            <a:prstGeom prst="rect">
              <a:avLst/>
            </a:prstGeom>
          </p:spPr>
        </p:pic>
        <p:pic>
          <p:nvPicPr>
            <p:cNvPr id="11" name="Picture 10">
              <a:extLst>
                <a:ext uri="{FF2B5EF4-FFF2-40B4-BE49-F238E27FC236}">
                  <a16:creationId xmlns:a16="http://schemas.microsoft.com/office/drawing/2014/main" id="{E5DCD107-382E-4D1A-A3B9-89F578F4AD7C}"/>
                </a:ext>
              </a:extLst>
            </p:cNvPr>
            <p:cNvPicPr>
              <a:picLocks noChangeAspect="1"/>
            </p:cNvPicPr>
            <p:nvPr userDrawn="1"/>
          </p:nvPicPr>
          <p:blipFill>
            <a:blip r:embed="rId5"/>
            <a:stretch>
              <a:fillRect/>
            </a:stretch>
          </p:blipFill>
          <p:spPr>
            <a:xfrm>
              <a:off x="8481525" y="2834640"/>
              <a:ext cx="594360" cy="594360"/>
            </a:xfrm>
            <a:prstGeom prst="rect">
              <a:avLst/>
            </a:prstGeom>
          </p:spPr>
        </p:pic>
        <p:pic>
          <p:nvPicPr>
            <p:cNvPr id="12" name="Picture 11">
              <a:extLst>
                <a:ext uri="{FF2B5EF4-FFF2-40B4-BE49-F238E27FC236}">
                  <a16:creationId xmlns:a16="http://schemas.microsoft.com/office/drawing/2014/main" id="{B244B066-747D-47EC-A7D2-ECE2D4D79D0C}"/>
                </a:ext>
              </a:extLst>
            </p:cNvPr>
            <p:cNvPicPr>
              <a:picLocks noChangeAspect="1"/>
            </p:cNvPicPr>
            <p:nvPr userDrawn="1"/>
          </p:nvPicPr>
          <p:blipFill>
            <a:blip r:embed="rId6"/>
            <a:stretch>
              <a:fillRect/>
            </a:stretch>
          </p:blipFill>
          <p:spPr>
            <a:xfrm>
              <a:off x="9633198" y="2867584"/>
              <a:ext cx="594360" cy="493171"/>
            </a:xfrm>
            <a:prstGeom prst="rect">
              <a:avLst/>
            </a:prstGeom>
          </p:spPr>
        </p:pic>
        <p:pic>
          <p:nvPicPr>
            <p:cNvPr id="14" name="Picture 13">
              <a:extLst>
                <a:ext uri="{FF2B5EF4-FFF2-40B4-BE49-F238E27FC236}">
                  <a16:creationId xmlns:a16="http://schemas.microsoft.com/office/drawing/2014/main" id="{89190118-51B5-40B5-BDCE-69BFE691ED05}"/>
                </a:ext>
              </a:extLst>
            </p:cNvPr>
            <p:cNvPicPr>
              <a:picLocks noChangeAspect="1"/>
            </p:cNvPicPr>
            <p:nvPr userDrawn="1"/>
          </p:nvPicPr>
          <p:blipFill>
            <a:blip r:embed="rId7"/>
            <a:stretch>
              <a:fillRect/>
            </a:stretch>
          </p:blipFill>
          <p:spPr>
            <a:xfrm>
              <a:off x="9633198" y="1834556"/>
              <a:ext cx="594360" cy="594360"/>
            </a:xfrm>
            <a:prstGeom prst="rect">
              <a:avLst/>
            </a:prstGeom>
          </p:spPr>
        </p:pic>
        <p:pic>
          <p:nvPicPr>
            <p:cNvPr id="15" name="Picture 14">
              <a:extLst>
                <a:ext uri="{FF2B5EF4-FFF2-40B4-BE49-F238E27FC236}">
                  <a16:creationId xmlns:a16="http://schemas.microsoft.com/office/drawing/2014/main" id="{9EB7BB85-E6F0-42CC-BAE4-3FC8F3C36E0C}"/>
                </a:ext>
              </a:extLst>
            </p:cNvPr>
            <p:cNvPicPr>
              <a:picLocks noChangeAspect="1"/>
            </p:cNvPicPr>
            <p:nvPr userDrawn="1"/>
          </p:nvPicPr>
          <p:blipFill>
            <a:blip r:embed="rId8"/>
            <a:stretch>
              <a:fillRect/>
            </a:stretch>
          </p:blipFill>
          <p:spPr>
            <a:xfrm>
              <a:off x="8481525" y="1834556"/>
              <a:ext cx="594360" cy="594360"/>
            </a:xfrm>
            <a:prstGeom prst="rect">
              <a:avLst/>
            </a:prstGeom>
          </p:spPr>
        </p:pic>
        <p:pic>
          <p:nvPicPr>
            <p:cNvPr id="16" name="Picture 15">
              <a:extLst>
                <a:ext uri="{FF2B5EF4-FFF2-40B4-BE49-F238E27FC236}">
                  <a16:creationId xmlns:a16="http://schemas.microsoft.com/office/drawing/2014/main" id="{0B0E0663-AD89-4AC8-8010-AB75DAE0B20E}"/>
                </a:ext>
              </a:extLst>
            </p:cNvPr>
            <p:cNvPicPr>
              <a:picLocks noChangeAspect="1"/>
            </p:cNvPicPr>
            <p:nvPr userDrawn="1"/>
          </p:nvPicPr>
          <p:blipFill>
            <a:blip r:embed="rId9"/>
            <a:stretch>
              <a:fillRect/>
            </a:stretch>
          </p:blipFill>
          <p:spPr>
            <a:xfrm>
              <a:off x="8490069" y="3834724"/>
              <a:ext cx="594360" cy="594360"/>
            </a:xfrm>
            <a:prstGeom prst="rect">
              <a:avLst/>
            </a:prstGeom>
          </p:spPr>
        </p:pic>
        <p:pic>
          <p:nvPicPr>
            <p:cNvPr id="17" name="Picture 16">
              <a:extLst>
                <a:ext uri="{FF2B5EF4-FFF2-40B4-BE49-F238E27FC236}">
                  <a16:creationId xmlns:a16="http://schemas.microsoft.com/office/drawing/2014/main" id="{CE957CD3-70DC-4100-A225-7B592B67F885}"/>
                </a:ext>
              </a:extLst>
            </p:cNvPr>
            <p:cNvPicPr>
              <a:picLocks noChangeAspect="1"/>
            </p:cNvPicPr>
            <p:nvPr userDrawn="1"/>
          </p:nvPicPr>
          <p:blipFill>
            <a:blip r:embed="rId10"/>
            <a:stretch>
              <a:fillRect/>
            </a:stretch>
          </p:blipFill>
          <p:spPr>
            <a:xfrm>
              <a:off x="10731327" y="2972070"/>
              <a:ext cx="594360" cy="259786"/>
            </a:xfrm>
            <a:prstGeom prst="rect">
              <a:avLst/>
            </a:prstGeom>
          </p:spPr>
        </p:pic>
        <p:pic>
          <p:nvPicPr>
            <p:cNvPr id="18" name="Picture 17">
              <a:extLst>
                <a:ext uri="{FF2B5EF4-FFF2-40B4-BE49-F238E27FC236}">
                  <a16:creationId xmlns:a16="http://schemas.microsoft.com/office/drawing/2014/main" id="{216E37C7-D8FB-42AE-BCF0-63E6A65201AD}"/>
                </a:ext>
              </a:extLst>
            </p:cNvPr>
            <p:cNvPicPr>
              <a:picLocks noChangeAspect="1"/>
            </p:cNvPicPr>
            <p:nvPr userDrawn="1"/>
          </p:nvPicPr>
          <p:blipFill>
            <a:blip r:embed="rId11"/>
            <a:stretch>
              <a:fillRect/>
            </a:stretch>
          </p:blipFill>
          <p:spPr>
            <a:xfrm>
              <a:off x="10731327" y="4000752"/>
              <a:ext cx="594360" cy="262304"/>
            </a:xfrm>
            <a:prstGeom prst="rect">
              <a:avLst/>
            </a:prstGeom>
          </p:spPr>
        </p:pic>
        <p:pic>
          <p:nvPicPr>
            <p:cNvPr id="19" name="Picture 18">
              <a:extLst>
                <a:ext uri="{FF2B5EF4-FFF2-40B4-BE49-F238E27FC236}">
                  <a16:creationId xmlns:a16="http://schemas.microsoft.com/office/drawing/2014/main" id="{CFBEBE55-430D-469B-863D-CF0F3398BD70}"/>
                </a:ext>
              </a:extLst>
            </p:cNvPr>
            <p:cNvPicPr>
              <a:picLocks noChangeAspect="1"/>
            </p:cNvPicPr>
            <p:nvPr userDrawn="1"/>
          </p:nvPicPr>
          <p:blipFill>
            <a:blip r:embed="rId12"/>
            <a:stretch>
              <a:fillRect/>
            </a:stretch>
          </p:blipFill>
          <p:spPr>
            <a:xfrm>
              <a:off x="8582907" y="5015200"/>
              <a:ext cx="408683" cy="594360"/>
            </a:xfrm>
            <a:prstGeom prst="rect">
              <a:avLst/>
            </a:prstGeom>
          </p:spPr>
        </p:pic>
        <p:pic>
          <p:nvPicPr>
            <p:cNvPr id="20" name="Picture 19">
              <a:extLst>
                <a:ext uri="{FF2B5EF4-FFF2-40B4-BE49-F238E27FC236}">
                  <a16:creationId xmlns:a16="http://schemas.microsoft.com/office/drawing/2014/main" id="{AC9C76CB-E61E-4101-8CD5-48724D444971}"/>
                </a:ext>
              </a:extLst>
            </p:cNvPr>
            <p:cNvPicPr>
              <a:picLocks noChangeAspect="1"/>
            </p:cNvPicPr>
            <p:nvPr userDrawn="1"/>
          </p:nvPicPr>
          <p:blipFill>
            <a:blip r:embed="rId13"/>
            <a:stretch>
              <a:fillRect/>
            </a:stretch>
          </p:blipFill>
          <p:spPr>
            <a:xfrm>
              <a:off x="9633198" y="5089372"/>
              <a:ext cx="594360" cy="446015"/>
            </a:xfrm>
            <a:prstGeom prst="rect">
              <a:avLst/>
            </a:prstGeom>
          </p:spPr>
        </p:pic>
        <p:pic>
          <p:nvPicPr>
            <p:cNvPr id="21" name="Picture 20">
              <a:extLst>
                <a:ext uri="{FF2B5EF4-FFF2-40B4-BE49-F238E27FC236}">
                  <a16:creationId xmlns:a16="http://schemas.microsoft.com/office/drawing/2014/main" id="{AF46E7AC-A6D0-40E5-AC0C-4C2C29F3B2E0}"/>
                </a:ext>
              </a:extLst>
            </p:cNvPr>
            <p:cNvPicPr>
              <a:picLocks noChangeAspect="1"/>
            </p:cNvPicPr>
            <p:nvPr userDrawn="1"/>
          </p:nvPicPr>
          <p:blipFill>
            <a:blip r:embed="rId14"/>
            <a:stretch>
              <a:fillRect/>
            </a:stretch>
          </p:blipFill>
          <p:spPr>
            <a:xfrm>
              <a:off x="10731327" y="5054172"/>
              <a:ext cx="594360" cy="446015"/>
            </a:xfrm>
            <a:prstGeom prst="rect">
              <a:avLst/>
            </a:prstGeom>
          </p:spPr>
        </p:pic>
      </p:grpSp>
    </p:spTree>
    <p:extLst>
      <p:ext uri="{BB962C8B-B14F-4D97-AF65-F5344CB8AC3E}">
        <p14:creationId xmlns:p14="http://schemas.microsoft.com/office/powerpoint/2010/main" val="69316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15971632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81573608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77329771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6020406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3079828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dirty="0"/>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dirty="0"/>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dirty="0"/>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dirty="0"/>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dirty="0"/>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92725157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dirty="0"/>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89995665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444830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7611403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764941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290758864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2708528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endParaRPr lang="en-US" dirty="0"/>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860943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57312200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endParaRPr lang="en-US" dirty="0"/>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92815417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endParaRPr lang="en-US" dirty="0"/>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endParaRPr lang="en-US" dirty="0"/>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019309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121097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217952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64832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7166068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8960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793416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2842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533477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85943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87542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744843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19866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Viz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CFCDE27-EDA2-144F-8BC6-6083D6D909B4}"/>
              </a:ext>
            </a:extLst>
          </p:cNvPr>
          <p:cNvPicPr>
            <a:picLocks noChangeAspect="1"/>
          </p:cNvPicPr>
          <p:nvPr userDrawn="1"/>
        </p:nvPicPr>
        <p:blipFill rotWithShape="1">
          <a:blip r:embed="rId2">
            <a:lum bright="-18000"/>
            <a:alphaModFix amt="20000"/>
          </a:blip>
          <a:srcRect t="12321" r="8879"/>
          <a:stretch/>
        </p:blipFill>
        <p:spPr>
          <a:xfrm>
            <a:off x="5777283" y="0"/>
            <a:ext cx="6414717" cy="6013048"/>
          </a:xfrm>
          <a:prstGeom prst="rect">
            <a:avLst/>
          </a:prstGeom>
        </p:spPr>
      </p:pic>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3" name="Shape 78"/>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dirty="0"/>
          </a:p>
        </p:txBody>
      </p:sp>
      <p:pic>
        <p:nvPicPr>
          <p:cNvPr id="17" name="Picture 16">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19" name="TextBox 18">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12873806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4D8D864-CFA6-477D-A4B4-FED8B0945667}"/>
              </a:ext>
            </a:extLst>
          </p:cNvPr>
          <p:cNvSpPr>
            <a:spLocks noGrp="1"/>
          </p:cNvSpPr>
          <p:nvPr>
            <p:ph idx="33" hasCustomPrompt="1"/>
          </p:nvPr>
        </p:nvSpPr>
        <p:spPr>
          <a:xfrm>
            <a:off x="6103952" y="3276600"/>
            <a:ext cx="5622897" cy="2819400"/>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dirty="0"/>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p:nvPr>
        </p:nvSpPr>
        <p:spPr>
          <a:xfrm>
            <a:off x="10325099" y="1181100"/>
            <a:ext cx="1409700" cy="1409700"/>
          </a:xfrm>
          <a:prstGeom prst="ellipse">
            <a:avLst/>
          </a:prstGeom>
        </p:spPr>
        <p:txBody>
          <a:bodyPr wrap="none" anchor="ctr" anchorCtr="0"/>
          <a:lstStyle>
            <a:lvl1pPr algn="ctr">
              <a:defRPr sz="1400" b="0">
                <a:solidFill>
                  <a:srgbClr val="B4009E"/>
                </a:solidFill>
              </a:defRPr>
            </a:lvl1pPr>
          </a:lstStyle>
          <a:p>
            <a:r>
              <a:rPr lang="en-US"/>
              <a:t>Click icon to add 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0" y="1181100"/>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Twitter: @handle</a:t>
            </a:r>
          </a:p>
          <a:p>
            <a:pPr lvl="0"/>
            <a:r>
              <a:rPr lang="en-US" dirty="0"/>
              <a:t>Email: </a:t>
            </a:r>
            <a:r>
              <a:rPr lang="en-US" dirty="0" err="1"/>
              <a:t>email@Microsoft.com</a:t>
            </a:r>
            <a:endParaRPr lang="en-US" dirty="0"/>
          </a:p>
        </p:txBody>
      </p:sp>
      <p:sp>
        <p:nvSpPr>
          <p:cNvPr id="2" name="Slide Number Placeholder 1">
            <a:extLst>
              <a:ext uri="{FF2B5EF4-FFF2-40B4-BE49-F238E27FC236}">
                <a16:creationId xmlns:a16="http://schemas.microsoft.com/office/drawing/2014/main" id="{B91CB2BC-111D-F649-A0EE-51B2CD7DCF8C}"/>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3" name="Text Placeholder 3">
            <a:extLst>
              <a:ext uri="{FF2B5EF4-FFF2-40B4-BE49-F238E27FC236}">
                <a16:creationId xmlns:a16="http://schemas.microsoft.com/office/drawing/2014/main" id="{245711B6-47A7-4CF6-BE34-3532BF3BA128}"/>
              </a:ext>
            </a:extLst>
          </p:cNvPr>
          <p:cNvSpPr>
            <a:spLocks noGrp="1"/>
          </p:cNvSpPr>
          <p:nvPr>
            <p:ph idx="1"/>
          </p:nvPr>
        </p:nvSpPr>
        <p:spPr>
          <a:xfrm>
            <a:off x="456133" y="1181100"/>
            <a:ext cx="5622897" cy="4914900"/>
          </a:xfrm>
          <a:prstGeom prst="rect">
            <a:avLst/>
          </a:prstGeom>
        </p:spPr>
        <p:txBody>
          <a:bodyPr vert="horz" wrap="square" lIns="0" tIns="0" rIns="18288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88471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92492538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Hidden slide">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7B6D2C-4312-4967-BAAC-9D48AEB848A3}"/>
              </a:ext>
            </a:extLst>
          </p:cNvPr>
          <p:cNvSpPr/>
          <p:nvPr userDrawn="1"/>
        </p:nvSpPr>
        <p:spPr>
          <a:xfrm>
            <a:off x="0" y="6246796"/>
            <a:ext cx="12192000" cy="611204"/>
          </a:xfrm>
          <a:prstGeom prst="rect">
            <a:avLst/>
          </a:prstGeom>
          <a:solidFill>
            <a:srgbClr val="92D05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1969540-D041-46CC-B2E2-E9066012215A}"/>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F9534536-D30D-44F8-BCC3-003C1D55AB01}"/>
              </a:ext>
            </a:extLst>
          </p:cNvPr>
          <p:cNvSpPr txBox="1"/>
          <p:nvPr userDrawn="1"/>
        </p:nvSpPr>
        <p:spPr>
          <a:xfrm>
            <a:off x="105878" y="6306176"/>
            <a:ext cx="4032985" cy="492443"/>
          </a:xfrm>
          <a:prstGeom prst="rect">
            <a:avLst/>
          </a:prstGeom>
        </p:spPr>
        <p:txBody>
          <a:bodyPr wrap="square" lIns="0" tIns="0" rIns="0" bIns="0" rtlCol="0" anchor="t" anchorCtr="0">
            <a:spAutoFit/>
          </a:bodyPr>
          <a:lstStyle/>
          <a:p>
            <a:r>
              <a:rPr lang="en-US" sz="3200">
                <a:solidFill>
                  <a:srgbClr val="000000"/>
                </a:solidFill>
              </a:rPr>
              <a:t>Hidden Slide</a:t>
            </a:r>
          </a:p>
        </p:txBody>
      </p:sp>
      <p:sp>
        <p:nvSpPr>
          <p:cNvPr id="10" name="Content Placeholder 9">
            <a:extLst>
              <a:ext uri="{FF2B5EF4-FFF2-40B4-BE49-F238E27FC236}">
                <a16:creationId xmlns:a16="http://schemas.microsoft.com/office/drawing/2014/main" id="{71AD671C-BBA0-4AB5-91D7-E4F245ACA47B}"/>
              </a:ext>
            </a:extLst>
          </p:cNvPr>
          <p:cNvSpPr>
            <a:spLocks noGrp="1"/>
          </p:cNvSpPr>
          <p:nvPr>
            <p:ph sz="quarter" idx="12"/>
          </p:nvPr>
        </p:nvSpPr>
        <p:spPr>
          <a:xfrm>
            <a:off x="473102" y="1257300"/>
            <a:ext cx="11261697" cy="4980888"/>
          </a:xfrm>
        </p:spPr>
        <p:txBody>
          <a:bodyPr/>
          <a:lstStyle>
            <a:lvl1pPr>
              <a:defRPr b="1" i="0">
                <a:solidFill>
                  <a:schemeClr val="tx1"/>
                </a:solidFill>
                <a:latin typeface="Segoe Semibold" charset="0"/>
                <a:ea typeface="Segoe Semibold" charset="0"/>
                <a:cs typeface="Segoe Semibold" charset="0"/>
              </a:defRPr>
            </a:lvl1pPr>
            <a:lvl2pPr>
              <a:defRPr sz="2000" b="0" i="0">
                <a:solidFill>
                  <a:schemeClr val="tx1"/>
                </a:solidFill>
                <a:latin typeface="Segoe UI" charset="0"/>
                <a:ea typeface="Segoe UI" charset="0"/>
                <a:cs typeface="Segoe UI" charset="0"/>
              </a:defRPr>
            </a:lvl2pPr>
            <a:lvl3pPr>
              <a:defRPr sz="2000" b="0" i="0">
                <a:solidFill>
                  <a:schemeClr val="tx1"/>
                </a:solidFill>
                <a:latin typeface="Segoe UI" charset="0"/>
                <a:ea typeface="Segoe UI" charset="0"/>
                <a:cs typeface="Segoe UI" charset="0"/>
              </a:defRPr>
            </a:lvl3pPr>
            <a:lvl4pPr>
              <a:defRPr sz="2000" b="0" i="0">
                <a:solidFill>
                  <a:schemeClr val="tx1"/>
                </a:solidFill>
                <a:latin typeface="Segoe UI" charset="0"/>
                <a:ea typeface="Segoe UI" charset="0"/>
                <a:cs typeface="Segoe UI" charset="0"/>
              </a:defRPr>
            </a:lvl4pPr>
            <a:lvl5pPr>
              <a:defRPr sz="2000" b="0" i="0">
                <a:solidFill>
                  <a:schemeClr val="tx1"/>
                </a:solidFill>
                <a:latin typeface="Segoe UI" charset="0"/>
                <a:ea typeface="Segoe UI" charset="0"/>
                <a:cs typeface="Segoe UI"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E4AE94F-5DCA-ED49-8E82-3CDE4E86917D}"/>
              </a:ext>
            </a:extLst>
          </p:cNvPr>
          <p:cNvSpPr>
            <a:spLocks noGrp="1"/>
          </p:cNvSpPr>
          <p:nvPr>
            <p:ph type="sldNum" sz="quarter" idx="13"/>
          </p:nvPr>
        </p:nvSpPr>
        <p:spPr>
          <a:xfrm>
            <a:off x="11010899" y="6442502"/>
            <a:ext cx="1180135" cy="415498"/>
          </a:xfrm>
          <a:prstGeom prst="rect">
            <a:avLst/>
          </a:prstGeom>
        </p:spPr>
        <p:txBody>
          <a:bodyPr/>
          <a:lstStyle>
            <a:lvl1pPr>
              <a:defRPr>
                <a:solidFill>
                  <a:schemeClr val="tx2"/>
                </a:solidFill>
              </a:defRPr>
            </a:lvl1pPr>
          </a:lstStyle>
          <a:p>
            <a:fld id="{529AFA16-AEC4-7D4A-82F3-BDAE8E49079E}" type="slidenum">
              <a:rPr lang="en-US" smtClean="0"/>
              <a:pPr/>
              <a:t>‹#›</a:t>
            </a:fld>
            <a:endParaRPr lang="en-US" dirty="0"/>
          </a:p>
        </p:txBody>
      </p:sp>
    </p:spTree>
    <p:extLst>
      <p:ext uri="{BB962C8B-B14F-4D97-AF65-F5344CB8AC3E}">
        <p14:creationId xmlns:p14="http://schemas.microsoft.com/office/powerpoint/2010/main" val="12398515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 Agenda (Viz 1)">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lum bright="-18000"/>
            <a:alphaModFix amt="20000"/>
          </a:blip>
          <a:srcRect t="12321" r="8879"/>
          <a:stretch/>
        </p:blipFill>
        <p:spPr>
          <a:xfrm>
            <a:off x="5777283" y="0"/>
            <a:ext cx="6414717" cy="6013048"/>
          </a:xfrm>
          <a:prstGeom prst="rect">
            <a:avLst/>
          </a:prstGeom>
        </p:spPr>
      </p:pic>
      <p:sp>
        <p:nvSpPr>
          <p:cNvPr id="20" name="Text Placeholder 2">
            <a:extLst>
              <a:ext uri="{FF2B5EF4-FFF2-40B4-BE49-F238E27FC236}">
                <a16:creationId xmlns:a16="http://schemas.microsoft.com/office/drawing/2014/main" id="{20A3B10F-BCBB-9C40-AC34-24E67107407F}"/>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Agenda 1</a:t>
            </a:r>
          </a:p>
          <a:p>
            <a:pPr lvl="0"/>
            <a:r>
              <a:rPr lang="en-US" dirty="0"/>
              <a:t>Agenda 2 -</a:t>
            </a:r>
            <a:br>
              <a:rPr lang="en-US" dirty="0"/>
            </a:br>
            <a:r>
              <a:rPr lang="en-US" dirty="0"/>
              <a:t>Could go to 2 lines</a:t>
            </a:r>
          </a:p>
          <a:p>
            <a:pPr lvl="0"/>
            <a:r>
              <a:rPr lang="en-US" dirty="0"/>
              <a:t>Agenda 3</a:t>
            </a:r>
          </a:p>
        </p:txBody>
      </p:sp>
      <p:sp>
        <p:nvSpPr>
          <p:cNvPr id="31" name="Title 13"/>
          <p:cNvSpPr>
            <a:spLocks noGrp="1"/>
          </p:cNvSpPr>
          <p:nvPr>
            <p:ph type="title" hasCustomPrompt="1"/>
          </p:nvPr>
        </p:nvSpPr>
        <p:spPr>
          <a:xfrm>
            <a:off x="457200" y="1866900"/>
            <a:ext cx="11277600" cy="1409700"/>
          </a:xfrm>
          <a:prstGeom prst="rect">
            <a:avLst/>
          </a:prstGeom>
        </p:spPr>
        <p:txBody>
          <a:bodyPr lIns="0" anchor="t" anchorCtr="0">
            <a:noAutofit/>
          </a:bodyPr>
          <a:lstStyle>
            <a:lvl1pPr>
              <a:lnSpc>
                <a:spcPct val="85000"/>
              </a:lnSpc>
              <a:defRPr sz="6000" b="1" i="0" baseline="0">
                <a:solidFill>
                  <a:schemeClr val="accent2"/>
                </a:solidFill>
                <a:latin typeface="Segoe UI Semibold" charset="0"/>
                <a:ea typeface="Segoe UI Semibold" charset="0"/>
                <a:cs typeface="Segoe UI Semibold" charset="0"/>
              </a:defRPr>
            </a:lvl1pPr>
          </a:lstStyle>
          <a:p>
            <a:r>
              <a:rPr lang="en-US" dirty="0"/>
              <a:t>Title Goes Here</a:t>
            </a:r>
            <a:br>
              <a:rPr lang="en-US" dirty="0"/>
            </a:br>
            <a:r>
              <a:rPr lang="en-US" dirty="0"/>
              <a:t>May Take Two Lines</a:t>
            </a:r>
          </a:p>
        </p:txBody>
      </p:sp>
      <p:sp>
        <p:nvSpPr>
          <p:cNvPr id="32" name="Shape 78"/>
          <p:cNvSpPr txBox="1">
            <a:spLocks noGrp="1"/>
          </p:cNvSpPr>
          <p:nvPr>
            <p:ph type="body" idx="7" hasCustomPrompt="1"/>
          </p:nvPr>
        </p:nvSpPr>
        <p:spPr>
          <a:xfrm>
            <a:off x="457200" y="3276600"/>
            <a:ext cx="11277600" cy="723900"/>
          </a:xfrm>
          <a:prstGeom prst="rect">
            <a:avLst/>
          </a:prstGeom>
        </p:spPr>
        <p:txBody>
          <a:bodyPr vert="horz" lIns="0" tIns="0" rIns="0" bIns="0" rtlCol="0" anchor="b" anchorCtr="0">
            <a:noAutofit/>
          </a:bodyPr>
          <a:lstStyle>
            <a:lvl1pPr marL="457114" indent="-457114">
              <a:buFont typeface="+mj-lt"/>
              <a:buNone/>
              <a:tabLst>
                <a:tab pos="1828800" algn="l"/>
              </a:tabLst>
              <a:defRPr sz="24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33" name="Text Placeholder 2"/>
          <p:cNvSpPr>
            <a:spLocks noGrp="1"/>
          </p:cNvSpPr>
          <p:nvPr>
            <p:ph type="body" sz="quarter" idx="25" hasCustomPrompt="1"/>
          </p:nvPr>
        </p:nvSpPr>
        <p:spPr>
          <a:xfrm>
            <a:off x="457200" y="5372100"/>
            <a:ext cx="3543300"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34" name="Text Placeholder 2"/>
          <p:cNvSpPr>
            <a:spLocks noGrp="1"/>
          </p:cNvSpPr>
          <p:nvPr>
            <p:ph type="body" sz="quarter" idx="26" hasCustomPrompt="1"/>
          </p:nvPr>
        </p:nvSpPr>
        <p:spPr>
          <a:xfrm>
            <a:off x="457200" y="5764610"/>
            <a:ext cx="3543300" cy="318060"/>
          </a:xfrm>
          <a:prstGeom prst="rect">
            <a:avLst/>
          </a:prstGeom>
        </p:spPr>
        <p:txBody>
          <a:bodyPr rIns="91440" anchor="b" anchorCtr="0"/>
          <a:lstStyle>
            <a:lvl1pPr>
              <a:defRPr sz="1800" b="0" i="0">
                <a:solidFill>
                  <a:schemeClr val="tx1"/>
                </a:solidFill>
                <a:latin typeface="Segoe UI" charset="0"/>
                <a:ea typeface="Segoe UI" charset="0"/>
                <a:cs typeface="Segoe UI" charset="0"/>
              </a:defRPr>
            </a:lvl1pPr>
          </a:lstStyle>
          <a:p>
            <a:pPr lvl="0"/>
            <a:r>
              <a:rPr lang="en-US" dirty="0"/>
              <a:t>Speaker title</a:t>
            </a:r>
          </a:p>
        </p:txBody>
      </p:sp>
      <p:sp>
        <p:nvSpPr>
          <p:cNvPr id="36"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000500" y="5372100"/>
            <a:ext cx="3508667"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37"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000501" y="5764610"/>
            <a:ext cx="3508666" cy="318060"/>
          </a:xfrm>
          <a:prstGeom prst="rect">
            <a:avLst/>
          </a:prstGeom>
        </p:spPr>
        <p:txBody>
          <a:bodyPr anchor="b" anchorCtr="0"/>
          <a:lstStyle>
            <a:lvl1pPr>
              <a:defRPr sz="1800" b="0" i="0">
                <a:solidFill>
                  <a:schemeClr val="tx1"/>
                </a:solidFill>
                <a:latin typeface="Segoe UI" charset="0"/>
                <a:ea typeface="Segoe UI" charset="0"/>
                <a:cs typeface="Segoe UI" charset="0"/>
              </a:defRPr>
            </a:lvl1pPr>
          </a:lstStyle>
          <a:p>
            <a:pPr lvl="0"/>
            <a:r>
              <a:rPr lang="en-US" dirty="0"/>
              <a:t>Co-speaker title</a:t>
            </a:r>
          </a:p>
        </p:txBody>
      </p:sp>
      <p:sp>
        <p:nvSpPr>
          <p:cNvPr id="3" name="Picture Placeholder 2">
            <a:extLst>
              <a:ext uri="{FF2B5EF4-FFF2-40B4-BE49-F238E27FC236}">
                <a16:creationId xmlns:a16="http://schemas.microsoft.com/office/drawing/2014/main" id="{1B03715C-ACC3-A74C-AF99-A23185CB5518}"/>
              </a:ext>
            </a:extLst>
          </p:cNvPr>
          <p:cNvSpPr>
            <a:spLocks noGrp="1"/>
          </p:cNvSpPr>
          <p:nvPr>
            <p:ph type="pic" sz="quarter" idx="31"/>
          </p:nvPr>
        </p:nvSpPr>
        <p:spPr>
          <a:xfrm>
            <a:off x="457200" y="4644415"/>
            <a:ext cx="723900" cy="723900"/>
          </a:xfrm>
          <a:prstGeom prst="ellipse">
            <a:avLst/>
          </a:prstGeom>
        </p:spPr>
        <p:txBody>
          <a:bodyPr wrap="none" anchor="ctr" anchorCtr="0"/>
          <a:lstStyle>
            <a:lvl1pPr algn="ctr">
              <a:defRPr sz="1200" b="0">
                <a:solidFill>
                  <a:srgbClr val="B4009E"/>
                </a:solidFill>
              </a:defRPr>
            </a:lvl1pPr>
          </a:lstStyle>
          <a:p>
            <a:r>
              <a:rPr lang="en-US" dirty="0"/>
              <a:t>Click icon to add picture</a:t>
            </a:r>
          </a:p>
        </p:txBody>
      </p:sp>
      <p:sp>
        <p:nvSpPr>
          <p:cNvPr id="21" name="Picture Placeholder 2">
            <a:extLst>
              <a:ext uri="{FF2B5EF4-FFF2-40B4-BE49-F238E27FC236}">
                <a16:creationId xmlns:a16="http://schemas.microsoft.com/office/drawing/2014/main" id="{A01D6265-C0A3-A24A-BA21-3D49432304F4}"/>
              </a:ext>
            </a:extLst>
          </p:cNvPr>
          <p:cNvSpPr>
            <a:spLocks noGrp="1"/>
          </p:cNvSpPr>
          <p:nvPr>
            <p:ph type="pic" sz="quarter" idx="32"/>
          </p:nvPr>
        </p:nvSpPr>
        <p:spPr>
          <a:xfrm>
            <a:off x="4010628" y="4630768"/>
            <a:ext cx="723900" cy="723900"/>
          </a:xfrm>
          <a:prstGeom prst="ellipse">
            <a:avLst/>
          </a:prstGeom>
        </p:spPr>
        <p:txBody>
          <a:bodyPr wrap="none" anchor="ctr" anchorCtr="0"/>
          <a:lstStyle>
            <a:lvl1pPr algn="ctr">
              <a:defRPr sz="1200" b="0">
                <a:solidFill>
                  <a:srgbClr val="B4009E"/>
                </a:solidFill>
              </a:defRPr>
            </a:lvl1pPr>
          </a:lstStyle>
          <a:p>
            <a:r>
              <a:rPr lang="en-US"/>
              <a:t>Click icon to add picture</a:t>
            </a:r>
          </a:p>
        </p:txBody>
      </p:sp>
      <p:pic>
        <p:nvPicPr>
          <p:cNvPr id="15" name="Picture 14">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22489665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Divider (Viz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7786E81-E6CB-644F-A2CF-67E98B2C4FFA}"/>
              </a:ext>
            </a:extLst>
          </p:cNvPr>
          <p:cNvPicPr>
            <a:picLocks noChangeAspect="1"/>
          </p:cNvPicPr>
          <p:nvPr userDrawn="1"/>
        </p:nvPicPr>
        <p:blipFill>
          <a:blip r:embed="rId2">
            <a:lum bright="13000"/>
            <a:alphaModFix amt="8000"/>
          </a:blip>
          <a:stretch>
            <a:fillRect/>
          </a:stretch>
        </p:blipFill>
        <p:spPr>
          <a:xfrm>
            <a:off x="5813611" y="115747"/>
            <a:ext cx="6014762" cy="6439596"/>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0463547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0"/>
            <a:ext cx="5622896"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53210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de 2 column - Wider with black BG">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tx1"/>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1470C470-4EF5-4D89-A0B3-70C86A843607}"/>
              </a:ext>
            </a:extLst>
          </p:cNvPr>
          <p:cNvSpPr>
            <a:spLocks noGrp="1"/>
          </p:cNvSpPr>
          <p:nvPr>
            <p:ph idx="32"/>
          </p:nvPr>
        </p:nvSpPr>
        <p:spPr>
          <a:xfrm>
            <a:off x="465152" y="1181100"/>
            <a:ext cx="4221150" cy="5199847"/>
          </a:xfrm>
          <a:prstGeom prst="rect">
            <a:avLst/>
          </a:prstGeom>
        </p:spPr>
        <p:txBody>
          <a:bodyPr vert="horz" wrap="square" lIns="0" tIns="0" rIns="0" bIns="0" rtlCol="0">
            <a:noAutofit/>
          </a:bodyPr>
          <a:lstStyle>
            <a:lvl1pPr>
              <a:defRPr sz="2000"/>
            </a:lvl1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137068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0" i="0" spc="-60" baseline="0">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68F2A2D2-DE9B-4819-9052-7451D1D54C8B}"/>
              </a:ext>
            </a:extLst>
          </p:cNvPr>
          <p:cNvSpPr>
            <a:spLocks noGrp="1"/>
          </p:cNvSpPr>
          <p:nvPr>
            <p:ph idx="1" hasCustomPrompt="1"/>
          </p:nvPr>
        </p:nvSpPr>
        <p:spPr>
          <a:xfrm>
            <a:off x="457200" y="1866900"/>
            <a:ext cx="11277599" cy="4514047"/>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08572712"/>
      </p:ext>
    </p:extLst>
  </p:cSld>
  <p:clrMapOvr>
    <a:masterClrMapping/>
  </p:clrMapOvr>
  <p:hf hdr="0"/>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8C19A-7348-4FC7-B409-6047AB418E0D}"/>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6586844-2C62-4558-AC70-DF1023D61C4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1D71A80-D389-42CB-9457-A1089A99AD29}"/>
              </a:ext>
            </a:extLst>
          </p:cNvPr>
          <p:cNvSpPr>
            <a:spLocks noGrp="1"/>
          </p:cNvSpPr>
          <p:nvPr>
            <p:ph type="dt" sz="half" idx="10"/>
          </p:nvPr>
        </p:nvSpPr>
        <p:spPr/>
        <p:txBody>
          <a:bodyPr/>
          <a:lstStyle/>
          <a:p>
            <a:fld id="{4DAD3300-596E-45BC-8393-39A1B3F3D71E}" type="datetimeFigureOut">
              <a:rPr lang="en-AU" smtClean="0"/>
              <a:t>19/08/2019</a:t>
            </a:fld>
            <a:endParaRPr lang="en-AU"/>
          </a:p>
        </p:txBody>
      </p:sp>
      <p:sp>
        <p:nvSpPr>
          <p:cNvPr id="5" name="Footer Placeholder 4">
            <a:extLst>
              <a:ext uri="{FF2B5EF4-FFF2-40B4-BE49-F238E27FC236}">
                <a16:creationId xmlns:a16="http://schemas.microsoft.com/office/drawing/2014/main" id="{584C6A94-5A52-4B57-9CFB-86ADD67DBBA0}"/>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C46ABEC-C80F-495C-A406-AA839155F487}"/>
              </a:ext>
            </a:extLst>
          </p:cNvPr>
          <p:cNvSpPr>
            <a:spLocks noGrp="1"/>
          </p:cNvSpPr>
          <p:nvPr>
            <p:ph type="sldNum" sz="quarter" idx="12"/>
          </p:nvPr>
        </p:nvSpPr>
        <p:spPr/>
        <p:txBody>
          <a:bodyPr/>
          <a:lstStyle/>
          <a:p>
            <a:fld id="{2086D750-C2F7-4312-9C09-9ACFBEE01C86}" type="slidenum">
              <a:rPr lang="en-AU" smtClean="0"/>
              <a:t>‹#›</a:t>
            </a:fld>
            <a:endParaRPr lang="en-AU"/>
          </a:p>
        </p:txBody>
      </p:sp>
    </p:spTree>
    <p:extLst>
      <p:ext uri="{BB962C8B-B14F-4D97-AF65-F5344CB8AC3E}">
        <p14:creationId xmlns:p14="http://schemas.microsoft.com/office/powerpoint/2010/main" val="1748433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endParaRPr lang="en-US" dirty="0"/>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3539982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2804626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696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dirty="0"/>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dirty="0"/>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dirty="0"/>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dirty="0"/>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dirty="0"/>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41848764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Title (Clean)">
    <p:spTree>
      <p:nvGrpSpPr>
        <p:cNvPr id="1" name=""/>
        <p:cNvGrpSpPr/>
        <p:nvPr/>
      </p:nvGrpSpPr>
      <p:grpSpPr>
        <a:xfrm>
          <a:off x="0" y="0"/>
          <a:ext cx="0" cy="0"/>
          <a:chOff x="0" y="0"/>
          <a:chExt cx="0" cy="0"/>
        </a:xfrm>
      </p:grpSpPr>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dirty="0"/>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pic>
        <p:nvPicPr>
          <p:cNvPr id="23" name="Picture 22">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6" name="TextBox 25">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25634289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8057843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878168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2323093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586632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834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99858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9803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2356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078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26.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image" Target="../media/image1.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theme" Target="../theme/theme3.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theme" Target="../theme/theme4.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image" Target="../media/image1.png"/><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theme" Target="../theme/theme5.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8" Type="http://schemas.openxmlformats.org/officeDocument/2006/relationships/slideLayout" Target="../slideLayouts/slideLayout12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9" Type="http://schemas.openxmlformats.org/officeDocument/2006/relationships/slideLayout" Target="../slideLayouts/slideLayout188.xml"/><Relationship Id="rId21" Type="http://schemas.openxmlformats.org/officeDocument/2006/relationships/slideLayout" Target="../slideLayouts/slideLayout170.xml"/><Relationship Id="rId34" Type="http://schemas.openxmlformats.org/officeDocument/2006/relationships/slideLayout" Target="../slideLayouts/slideLayout183.xml"/><Relationship Id="rId7" Type="http://schemas.openxmlformats.org/officeDocument/2006/relationships/slideLayout" Target="../slideLayouts/slideLayout15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slideLayout" Target="../slideLayouts/slideLayout178.xml"/><Relationship Id="rId41" Type="http://schemas.openxmlformats.org/officeDocument/2006/relationships/image" Target="../media/image26.emf"/><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slideLayout" Target="../slideLayouts/slideLayout181.xml"/><Relationship Id="rId37" Type="http://schemas.openxmlformats.org/officeDocument/2006/relationships/slideLayout" Target="../slideLayouts/slideLayout186.xml"/><Relationship Id="rId40" Type="http://schemas.openxmlformats.org/officeDocument/2006/relationships/theme" Target="../theme/theme6.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slideLayout" Target="../slideLayouts/slideLayout185.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slideLayout" Target="../slideLayouts/slideLayout180.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slideLayout" Target="../slideLayouts/slideLayout184.xml"/><Relationship Id="rId8" Type="http://schemas.openxmlformats.org/officeDocument/2006/relationships/slideLayout" Target="../slideLayouts/slideLayout157.xml"/><Relationship Id="rId3" Type="http://schemas.openxmlformats.org/officeDocument/2006/relationships/slideLayout" Target="../slideLayouts/slideLayout152.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slideLayout" Target="../slideLayouts/slideLayout182.xml"/><Relationship Id="rId38" Type="http://schemas.openxmlformats.org/officeDocument/2006/relationships/slideLayout" Target="../slideLayouts/slideLayout1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pic>
        <p:nvPicPr>
          <p:cNvPr id="7" name="Picture 6"/>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4266282189"/>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811" r:id="rId21"/>
    <p:sldLayoutId id="2147484812" r:id="rId22"/>
    <p:sldLayoutId id="2147484813" r:id="rId23"/>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8268146"/>
      </p:ext>
    </p:extLst>
  </p:cSld>
  <p:clrMap bg1="lt1" tx1="dk1" bg2="lt2" tx2="dk2" accent1="accent1" accent2="accent2" accent3="accent3" accent4="accent4" accent5="accent5" accent6="accent6" hlink="hlink" folHlink="folHlink"/>
  <p:sldLayoutIdLst>
    <p:sldLayoutId id="2147484777" r:id="rId1"/>
    <p:sldLayoutId id="2147484778" r:id="rId2"/>
    <p:sldLayoutId id="2147484779" r:id="rId3"/>
    <p:sldLayoutId id="2147484780" r:id="rId4"/>
    <p:sldLayoutId id="2147484781" r:id="rId5"/>
    <p:sldLayoutId id="2147484782" r:id="rId6"/>
    <p:sldLayoutId id="2147484783" r:id="rId7"/>
    <p:sldLayoutId id="2147484784" r:id="rId8"/>
    <p:sldLayoutId id="2147484785" r:id="rId9"/>
    <p:sldLayoutId id="2147484786" r:id="rId10"/>
    <p:sldLayoutId id="2147484787" r:id="rId11"/>
    <p:sldLayoutId id="2147484788" r:id="rId12"/>
    <p:sldLayoutId id="2147484789" r:id="rId13"/>
    <p:sldLayoutId id="2147484790" r:id="rId14"/>
    <p:sldLayoutId id="2147484791" r:id="rId15"/>
    <p:sldLayoutId id="2147484792" r:id="rId16"/>
    <p:sldLayoutId id="2147484793" r:id="rId17"/>
    <p:sldLayoutId id="2147484794" r:id="rId18"/>
    <p:sldLayoutId id="2147484795" r:id="rId19"/>
    <p:sldLayoutId id="2147484796" r:id="rId20"/>
    <p:sldLayoutId id="2147484797" r:id="rId21"/>
    <p:sldLayoutId id="2147484798" r:id="rId22"/>
    <p:sldLayoutId id="2147484799" r:id="rId23"/>
    <p:sldLayoutId id="2147484800" r:id="rId24"/>
    <p:sldLayoutId id="2147484801"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pic>
        <p:nvPicPr>
          <p:cNvPr id="7" name="Picture 6"/>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2756756890"/>
      </p:ext>
    </p:extLst>
  </p:cSld>
  <p:clrMap bg1="lt1" tx1="dk1" bg2="lt2" tx2="dk2" accent1="accent1" accent2="accent2" accent3="accent3" accent4="accent4" accent5="accent5" accent6="accent6" hlink="hlink" folHlink="folHlink"/>
  <p:sldLayoutIdLst>
    <p:sldLayoutId id="2147484815" r:id="rId1"/>
    <p:sldLayoutId id="2147484816" r:id="rId2"/>
    <p:sldLayoutId id="2147484817" r:id="rId3"/>
    <p:sldLayoutId id="2147484818" r:id="rId4"/>
    <p:sldLayoutId id="2147484819" r:id="rId5"/>
    <p:sldLayoutId id="2147484820" r:id="rId6"/>
    <p:sldLayoutId id="2147484821" r:id="rId7"/>
    <p:sldLayoutId id="2147484822" r:id="rId8"/>
    <p:sldLayoutId id="2147484823" r:id="rId9"/>
    <p:sldLayoutId id="2147484824" r:id="rId10"/>
    <p:sldLayoutId id="2147484825" r:id="rId11"/>
    <p:sldLayoutId id="2147484826" r:id="rId12"/>
    <p:sldLayoutId id="2147484827" r:id="rId13"/>
    <p:sldLayoutId id="2147484828" r:id="rId14"/>
    <p:sldLayoutId id="2147484829" r:id="rId15"/>
    <p:sldLayoutId id="2147484830" r:id="rId16"/>
    <p:sldLayoutId id="2147484831" r:id="rId17"/>
    <p:sldLayoutId id="2147484832" r:id="rId18"/>
    <p:sldLayoutId id="2147484833" r:id="rId19"/>
    <p:sldLayoutId id="2147484834" r:id="rId20"/>
    <p:sldLayoutId id="2147484835" r:id="rId21"/>
    <p:sldLayoutId id="2147484836" r:id="rId22"/>
    <p:sldLayoutId id="2147484838" r:id="rId23"/>
    <p:sldLayoutId id="2147484839" r:id="rId24"/>
    <p:sldLayoutId id="2147484841" r:id="rId25"/>
    <p:sldLayoutId id="2147484842" r:id="rId26"/>
    <p:sldLayoutId id="2147484843" r:id="rId27"/>
    <p:sldLayoutId id="2147484844" r:id="rId28"/>
    <p:sldLayoutId id="2147484845" r:id="rId29"/>
    <p:sldLayoutId id="2147484846" r:id="rId30"/>
    <p:sldLayoutId id="2147484847" r:id="rId31"/>
    <p:sldLayoutId id="2147484848" r:id="rId32"/>
    <p:sldLayoutId id="2147484849" r:id="rId33"/>
    <p:sldLayoutId id="2147484850" r:id="rId34"/>
    <p:sldLayoutId id="2147484851" r:id="rId35"/>
    <p:sldLayoutId id="2147484852" r:id="rId36"/>
    <p:sldLayoutId id="2147484853" r:id="rId37"/>
    <p:sldLayoutId id="2147484854" r:id="rId38"/>
    <p:sldLayoutId id="2147484858" r:id="rId39"/>
    <p:sldLayoutId id="2147484859" r:id="rId40"/>
    <p:sldLayoutId id="2147484860" r:id="rId41"/>
    <p:sldLayoutId id="2147484861" r:id="rId42"/>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4966640"/>
      </p:ext>
    </p:extLst>
  </p:cSld>
  <p:clrMap bg1="lt1" tx1="dk1" bg2="lt2" tx2="dk2" accent1="accent1" accent2="accent2" accent3="accent3" accent4="accent4" accent5="accent5" accent6="accent6" hlink="hlink" folHlink="folHlink"/>
  <p:sldLayoutIdLst>
    <p:sldLayoutId id="2147484863" r:id="rId1"/>
    <p:sldLayoutId id="2147484864" r:id="rId2"/>
    <p:sldLayoutId id="2147484865" r:id="rId3"/>
    <p:sldLayoutId id="2147484866" r:id="rId4"/>
    <p:sldLayoutId id="2147484867" r:id="rId5"/>
    <p:sldLayoutId id="2147484868" r:id="rId6"/>
    <p:sldLayoutId id="2147484869" r:id="rId7"/>
    <p:sldLayoutId id="2147484870" r:id="rId8"/>
    <p:sldLayoutId id="2147484871" r:id="rId9"/>
    <p:sldLayoutId id="2147484872" r:id="rId10"/>
    <p:sldLayoutId id="2147484873" r:id="rId11"/>
    <p:sldLayoutId id="2147484874" r:id="rId12"/>
    <p:sldLayoutId id="2147484875" r:id="rId13"/>
    <p:sldLayoutId id="2147484876" r:id="rId14"/>
    <p:sldLayoutId id="2147484877" r:id="rId15"/>
    <p:sldLayoutId id="2147484878" r:id="rId16"/>
    <p:sldLayoutId id="2147484879" r:id="rId17"/>
    <p:sldLayoutId id="2147484880" r:id="rId18"/>
    <p:sldLayoutId id="2147484881" r:id="rId19"/>
    <p:sldLayoutId id="2147484882" r:id="rId20"/>
    <p:sldLayoutId id="2147484883" r:id="rId21"/>
    <p:sldLayoutId id="2147484885" r:id="rId22"/>
    <p:sldLayoutId id="2147484886" r:id="rId23"/>
    <p:sldLayoutId id="2147484887" r:id="rId24"/>
    <p:sldLayoutId id="2147484888" r:id="rId25"/>
    <p:sldLayoutId id="2147484889" r:id="rId26"/>
    <p:sldLayoutId id="2147484890"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pic>
        <p:nvPicPr>
          <p:cNvPr id="7" name="Picture 6"/>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2443817004"/>
      </p:ext>
    </p:extLst>
  </p:cSld>
  <p:clrMap bg1="lt1" tx1="dk1" bg2="lt2" tx2="dk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 id="2147484897" r:id="rId6"/>
    <p:sldLayoutId id="2147484898" r:id="rId7"/>
    <p:sldLayoutId id="2147484899" r:id="rId8"/>
    <p:sldLayoutId id="2147484900" r:id="rId9"/>
    <p:sldLayoutId id="2147484901" r:id="rId10"/>
    <p:sldLayoutId id="2147484902" r:id="rId11"/>
    <p:sldLayoutId id="2147484903" r:id="rId12"/>
    <p:sldLayoutId id="2147484904" r:id="rId13"/>
    <p:sldLayoutId id="2147484905" r:id="rId14"/>
    <p:sldLayoutId id="2147484906" r:id="rId15"/>
    <p:sldLayoutId id="2147484907" r:id="rId16"/>
    <p:sldLayoutId id="2147484908" r:id="rId17"/>
    <p:sldLayoutId id="2147484909" r:id="rId18"/>
    <p:sldLayoutId id="2147484910" r:id="rId19"/>
    <p:sldLayoutId id="2147484911" r:id="rId20"/>
    <p:sldLayoutId id="2147484912" r:id="rId21"/>
    <p:sldLayoutId id="2147484913" r:id="rId22"/>
    <p:sldLayoutId id="2147484914" r:id="rId23"/>
    <p:sldLayoutId id="2147484915" r:id="rId24"/>
    <p:sldLayoutId id="2147484916" r:id="rId25"/>
    <p:sldLayoutId id="2147484917" r:id="rId26"/>
    <p:sldLayoutId id="2147484918" r:id="rId27"/>
    <p:sldLayoutId id="2147484919" r:id="rId28"/>
    <p:sldLayoutId id="2147484920" r:id="rId29"/>
    <p:sldLayoutId id="2147484921" r:id="rId30"/>
    <p:sldLayoutId id="2147484922" r:id="rId31"/>
    <p:sldLayoutId id="2147484923" r:id="rId32"/>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4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9550526"/>
      </p:ext>
    </p:extLst>
  </p:cSld>
  <p:clrMap bg1="lt1" tx1="dk1" bg2="lt2" tx2="dk2" accent1="accent1" accent2="accent2" accent3="accent3" accent4="accent4" accent5="accent5" accent6="accent6" hlink="hlink" folHlink="folHlink"/>
  <p:sldLayoutIdLst>
    <p:sldLayoutId id="2147484925" r:id="rId1"/>
    <p:sldLayoutId id="2147484926" r:id="rId2"/>
    <p:sldLayoutId id="2147484927" r:id="rId3"/>
    <p:sldLayoutId id="2147484928" r:id="rId4"/>
    <p:sldLayoutId id="2147484929" r:id="rId5"/>
    <p:sldLayoutId id="2147484930" r:id="rId6"/>
    <p:sldLayoutId id="2147484931" r:id="rId7"/>
    <p:sldLayoutId id="2147484932" r:id="rId8"/>
    <p:sldLayoutId id="2147484933" r:id="rId9"/>
    <p:sldLayoutId id="2147484934" r:id="rId10"/>
    <p:sldLayoutId id="2147484935" r:id="rId11"/>
    <p:sldLayoutId id="2147484936" r:id="rId12"/>
    <p:sldLayoutId id="2147484937" r:id="rId13"/>
    <p:sldLayoutId id="2147484938" r:id="rId14"/>
    <p:sldLayoutId id="2147484939" r:id="rId15"/>
    <p:sldLayoutId id="2147484940" r:id="rId16"/>
    <p:sldLayoutId id="2147484941" r:id="rId17"/>
    <p:sldLayoutId id="2147484942" r:id="rId18"/>
    <p:sldLayoutId id="2147484943" r:id="rId19"/>
    <p:sldLayoutId id="2147484944" r:id="rId20"/>
    <p:sldLayoutId id="2147484945" r:id="rId21"/>
    <p:sldLayoutId id="2147484946" r:id="rId22"/>
    <p:sldLayoutId id="2147484947" r:id="rId23"/>
    <p:sldLayoutId id="2147484948" r:id="rId24"/>
    <p:sldLayoutId id="2147484949" r:id="rId25"/>
    <p:sldLayoutId id="2147484950" r:id="rId26"/>
    <p:sldLayoutId id="2147484951" r:id="rId27"/>
    <p:sldLayoutId id="2147484952" r:id="rId28"/>
    <p:sldLayoutId id="2147484953" r:id="rId29"/>
    <p:sldLayoutId id="2147484954" r:id="rId30"/>
    <p:sldLayoutId id="2147484955" r:id="rId31"/>
    <p:sldLayoutId id="2147484956" r:id="rId32"/>
    <p:sldLayoutId id="2147484957" r:id="rId33"/>
    <p:sldLayoutId id="2147484958" r:id="rId34"/>
    <p:sldLayoutId id="2147484959" r:id="rId35"/>
    <p:sldLayoutId id="2147484960" r:id="rId36"/>
    <p:sldLayoutId id="2147484961" r:id="rId37"/>
    <p:sldLayoutId id="2147484962" r:id="rId38"/>
    <p:sldLayoutId id="2147484963" r:id="rId39"/>
  </p:sldLayoutIdLst>
  <p:transition>
    <p:fade/>
  </p:transition>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15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9.xml"/></Relationships>
</file>

<file path=ppt/slides/_rels/slide18.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svg"/><Relationship Id="rId3" Type="http://schemas.openxmlformats.org/officeDocument/2006/relationships/image" Target="../media/image45.png"/><Relationship Id="rId21" Type="http://schemas.openxmlformats.org/officeDocument/2006/relationships/image" Target="../media/image63.pn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 Type="http://schemas.openxmlformats.org/officeDocument/2006/relationships/notesSlide" Target="../notesSlides/notesSlide10.xml"/><Relationship Id="rId16" Type="http://schemas.openxmlformats.org/officeDocument/2006/relationships/image" Target="../media/image58.png"/><Relationship Id="rId20" Type="http://schemas.openxmlformats.org/officeDocument/2006/relationships/image" Target="../media/image62.png"/><Relationship Id="rId1" Type="http://schemas.openxmlformats.org/officeDocument/2006/relationships/slideLayout" Target="../slideLayouts/slideLayout99.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svg"/><Relationship Id="rId15" Type="http://schemas.openxmlformats.org/officeDocument/2006/relationships/image" Target="../media/image57.png"/><Relationship Id="rId23" Type="http://schemas.openxmlformats.org/officeDocument/2006/relationships/image" Target="../media/image65.png"/><Relationship Id="rId10" Type="http://schemas.openxmlformats.org/officeDocument/2006/relationships/image" Target="../media/image52.png"/><Relationship Id="rId19" Type="http://schemas.openxmlformats.org/officeDocument/2006/relationships/image" Target="../media/image61.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jpeg"/><Relationship Id="rId22" Type="http://schemas.openxmlformats.org/officeDocument/2006/relationships/image" Target="../media/image6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13.emf"/><Relationship Id="rId3" Type="http://schemas.openxmlformats.org/officeDocument/2006/relationships/image" Target="../media/image3.emf"/><Relationship Id="rId7" Type="http://schemas.openxmlformats.org/officeDocument/2006/relationships/image" Target="../media/image7.emf"/><Relationship Id="rId12" Type="http://schemas.openxmlformats.org/officeDocument/2006/relationships/image" Target="../media/image12.emf"/><Relationship Id="rId2" Type="http://schemas.openxmlformats.org/officeDocument/2006/relationships/image" Target="../media/image38.png"/><Relationship Id="rId1" Type="http://schemas.openxmlformats.org/officeDocument/2006/relationships/slideLayout" Target="../slideLayouts/slideLayout1.xml"/><Relationship Id="rId6" Type="http://schemas.openxmlformats.org/officeDocument/2006/relationships/image" Target="../media/image6.emf"/><Relationship Id="rId11" Type="http://schemas.openxmlformats.org/officeDocument/2006/relationships/image" Target="../media/image11.emf"/><Relationship Id="rId5" Type="http://schemas.openxmlformats.org/officeDocument/2006/relationships/image" Target="../media/image5.emf"/><Relationship Id="rId10" Type="http://schemas.openxmlformats.org/officeDocument/2006/relationships/image" Target="../media/image10.emf"/><Relationship Id="rId4" Type="http://schemas.openxmlformats.org/officeDocument/2006/relationships/image" Target="../media/image4.emf"/><Relationship Id="rId9" Type="http://schemas.openxmlformats.org/officeDocument/2006/relationships/image" Target="../media/image9.emf"/><Relationship Id="rId14" Type="http://schemas.openxmlformats.org/officeDocument/2006/relationships/image" Target="../media/image14.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5.xml.rels><?xml version="1.0" encoding="UTF-8" standalone="yes"?>
<Relationships xmlns="http://schemas.openxmlformats.org/package/2006/relationships"><Relationship Id="rId3" Type="http://schemas.openxmlformats.org/officeDocument/2006/relationships/image" Target="../media/image68.svg"/><Relationship Id="rId7" Type="http://schemas.openxmlformats.org/officeDocument/2006/relationships/image" Target="../media/image72.svg"/><Relationship Id="rId2" Type="http://schemas.openxmlformats.org/officeDocument/2006/relationships/image" Target="../media/image67.png"/><Relationship Id="rId1" Type="http://schemas.openxmlformats.org/officeDocument/2006/relationships/slideLayout" Target="../slideLayouts/slideLayout6.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95.xml"/><Relationship Id="rId5" Type="http://schemas.openxmlformats.org/officeDocument/2006/relationships/image" Target="../media/image76.png"/><Relationship Id="rId4" Type="http://schemas.openxmlformats.org/officeDocument/2006/relationships/image" Target="../media/image75.png"/></Relationships>
</file>

<file path=ppt/slides/_rels/slide27.xml.rels><?xml version="1.0" encoding="UTF-8" standalone="yes"?>
<Relationships xmlns="http://schemas.openxmlformats.org/package/2006/relationships"><Relationship Id="rId3" Type="http://schemas.openxmlformats.org/officeDocument/2006/relationships/image" Target="../media/image77.emf"/><Relationship Id="rId7" Type="http://schemas.openxmlformats.org/officeDocument/2006/relationships/image" Target="../media/image81.svg"/><Relationship Id="rId2" Type="http://schemas.openxmlformats.org/officeDocument/2006/relationships/notesSlide" Target="../notesSlides/notesSlide13.xml"/><Relationship Id="rId1" Type="http://schemas.openxmlformats.org/officeDocument/2006/relationships/slideLayout" Target="../slideLayouts/slideLayout9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9.xml"/></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5.xml"/><Relationship Id="rId1" Type="http://schemas.openxmlformats.org/officeDocument/2006/relationships/slideLayout" Target="../slideLayouts/slideLayout22.xml"/><Relationship Id="rId5" Type="http://schemas.openxmlformats.org/officeDocument/2006/relationships/image" Target="../media/image84.png"/><Relationship Id="rId4" Type="http://schemas.openxmlformats.org/officeDocument/2006/relationships/image" Target="../media/image83.png"/></Relationships>
</file>

<file path=ppt/slides/_rels/slide3.xml.rels><?xml version="1.0" encoding="UTF-8" standalone="yes"?>
<Relationships xmlns="http://schemas.openxmlformats.org/package/2006/relationships"><Relationship Id="rId3" Type="http://schemas.openxmlformats.org/officeDocument/2006/relationships/hyperlink" Target="http://www.facebook.com/pdtit" TargetMode="External"/><Relationship Id="rId7" Type="http://schemas.openxmlformats.org/officeDocument/2006/relationships/hyperlink" Target="http://openclipart.org/detail/125875/nuage--cloud-by-lmproulx" TargetMode="External"/><Relationship Id="rId2" Type="http://schemas.openxmlformats.org/officeDocument/2006/relationships/hyperlink" Target="mailto:peter@pdtit.be" TargetMode="External"/><Relationship Id="rId1" Type="http://schemas.openxmlformats.org/officeDocument/2006/relationships/slideLayout" Target="../slideLayouts/slideLayout21.xml"/><Relationship Id="rId6" Type="http://schemas.openxmlformats.org/officeDocument/2006/relationships/image" Target="../media/image40.png"/><Relationship Id="rId5" Type="http://schemas.openxmlformats.org/officeDocument/2006/relationships/image" Target="../media/image39.jpg"/><Relationship Id="rId4" Type="http://schemas.openxmlformats.org/officeDocument/2006/relationships/hyperlink" Target="http://www.linkedin.com/in/pdtit"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6.xml"/><Relationship Id="rId1" Type="http://schemas.openxmlformats.org/officeDocument/2006/relationships/slideLayout" Target="../slideLayouts/slideLayout99.xml"/></Relationships>
</file>

<file path=ppt/slides/_rels/slide3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1.xml"/><Relationship Id="rId1" Type="http://schemas.openxmlformats.org/officeDocument/2006/relationships/slideLayout" Target="../slideLayouts/slideLayout22.xml"/><Relationship Id="rId4" Type="http://schemas.openxmlformats.org/officeDocument/2006/relationships/image" Target="../media/image90.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5.xml.rels><?xml version="1.0" encoding="UTF-8" standalone="yes"?>
<Relationships xmlns="http://schemas.openxmlformats.org/package/2006/relationships"><Relationship Id="rId2" Type="http://schemas.openxmlformats.org/officeDocument/2006/relationships/hyperlink" Target="mailto:msdevseriessupport@007FFFLearning.com" TargetMode="External"/><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CA8D3961-91D4-4041-9455-6E5EBC1A175C}"/>
              </a:ext>
            </a:extLst>
          </p:cNvPr>
          <p:cNvSpPr txBox="1">
            <a:spLocks/>
          </p:cNvSpPr>
          <p:nvPr/>
        </p:nvSpPr>
        <p:spPr>
          <a:xfrm>
            <a:off x="630060" y="2021531"/>
            <a:ext cx="6448035" cy="2649025"/>
          </a:xfrm>
          <a:prstGeom prst="rect">
            <a:avLst/>
          </a:prstGeom>
          <a:noFill/>
        </p:spPr>
        <p:txBody>
          <a:bodyPr vert="horz" wrap="square" lIns="0" tIns="0" rIns="0" bIns="179285" rtlCol="0" anchor="b" anchorCtr="0">
            <a:noAutofit/>
          </a:bodyPr>
          <a:lstStyle>
            <a:lvl1pPr algn="l" defTabSz="932742" rtl="0" eaLnBrk="1" latinLnBrk="0" hangingPunct="1">
              <a:lnSpc>
                <a:spcPct val="90000"/>
              </a:lnSpc>
              <a:spcBef>
                <a:spcPct val="0"/>
              </a:spcBef>
              <a:buNone/>
              <a:defRPr lang="en-US" sz="3600" b="0" strike="noStrike" kern="1200" cap="none" spc="-5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902" b="0" i="0" u="none" strike="noStrike" kern="1200" cap="none" spc="-49" normalizeH="0" baseline="0" noProof="0" dirty="0">
                <a:ln w="3175">
                  <a:noFill/>
                </a:ln>
                <a:solidFill>
                  <a:srgbClr val="FFFFFF"/>
                </a:solidFill>
                <a:effectLst/>
                <a:uLnTx/>
                <a:uFillTx/>
                <a:latin typeface="Segoe UI Semibold"/>
                <a:ea typeface="+mn-ea"/>
                <a:cs typeface="Segoe UI" pitchFamily="34" charset="0"/>
              </a:rPr>
              <a:t>Azure Training Day</a:t>
            </a:r>
            <a:br>
              <a:rPr kumimoji="0" lang="en-US" sz="4902" b="0" i="0" u="none" strike="noStrike" kern="1200" cap="none" spc="-49" normalizeH="0" baseline="0" noProof="0" dirty="0">
                <a:ln w="3175">
                  <a:noFill/>
                </a:ln>
                <a:solidFill>
                  <a:srgbClr val="0078D3"/>
                </a:solidFill>
                <a:effectLst/>
                <a:uLnTx/>
                <a:uFillTx/>
                <a:latin typeface="Segoe UI Semibold"/>
                <a:ea typeface="+mn-ea"/>
                <a:cs typeface="Segoe UI" pitchFamily="34" charset="0"/>
              </a:rPr>
            </a:br>
            <a:r>
              <a:rPr kumimoji="0" lang="en-US" sz="4000" b="0" i="0" u="none" strike="noStrike" kern="1200" cap="none" spc="-49" normalizeH="0" baseline="0" noProof="0" dirty="0">
                <a:ln w="3175">
                  <a:noFill/>
                </a:ln>
                <a:solidFill>
                  <a:srgbClr val="50E6FF"/>
                </a:solidFill>
                <a:effectLst/>
                <a:uLnTx/>
                <a:uFillTx/>
                <a:latin typeface="Segoe UI"/>
                <a:ea typeface="+mn-ea"/>
                <a:cs typeface="Segoe UI" pitchFamily="34" charset="0"/>
              </a:rPr>
              <a:t>Migrating .NET applications to Azure</a:t>
            </a:r>
            <a:endParaRPr kumimoji="0" lang="en-US" sz="4902" b="0" i="0" u="none" strike="noStrike" kern="1200" cap="none" spc="-49" normalizeH="0" baseline="0" noProof="0" dirty="0">
              <a:ln w="3175">
                <a:noFill/>
              </a:ln>
              <a:solidFill>
                <a:srgbClr val="50E6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43281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314D8-22CC-40A2-8D09-E1F7B00F21A1}"/>
              </a:ext>
            </a:extLst>
          </p:cNvPr>
          <p:cNvSpPr>
            <a:spLocks noGrp="1"/>
          </p:cNvSpPr>
          <p:nvPr>
            <p:ph type="title"/>
          </p:nvPr>
        </p:nvSpPr>
        <p:spPr>
          <a:xfrm>
            <a:off x="588263" y="457200"/>
            <a:ext cx="11018520" cy="423193"/>
          </a:xfrm>
        </p:spPr>
        <p:txBody>
          <a:bodyPr/>
          <a:lstStyle/>
          <a:p>
            <a:r>
              <a:rPr lang="en-US" sz="2750" dirty="0"/>
              <a:t>Common migration and innovation triggers</a:t>
            </a:r>
            <a:endParaRPr lang="en-IN" sz="2750" dirty="0"/>
          </a:p>
        </p:txBody>
      </p:sp>
      <p:pic>
        <p:nvPicPr>
          <p:cNvPr id="4" name="Picture 3">
            <a:extLst>
              <a:ext uri="{FF2B5EF4-FFF2-40B4-BE49-F238E27FC236}">
                <a16:creationId xmlns:a16="http://schemas.microsoft.com/office/drawing/2014/main" id="{F258F128-D043-4D47-81B2-C05A4293BE61}"/>
              </a:ext>
            </a:extLst>
          </p:cNvPr>
          <p:cNvPicPr>
            <a:picLocks noChangeAspect="1"/>
          </p:cNvPicPr>
          <p:nvPr/>
        </p:nvPicPr>
        <p:blipFill>
          <a:blip r:embed="rId3"/>
          <a:stretch>
            <a:fillRect/>
          </a:stretch>
        </p:blipFill>
        <p:spPr>
          <a:xfrm>
            <a:off x="2144661" y="1332477"/>
            <a:ext cx="8555875" cy="4675550"/>
          </a:xfrm>
          <a:prstGeom prst="rect">
            <a:avLst/>
          </a:prstGeom>
        </p:spPr>
      </p:pic>
    </p:spTree>
    <p:extLst>
      <p:ext uri="{BB962C8B-B14F-4D97-AF65-F5344CB8AC3E}">
        <p14:creationId xmlns:p14="http://schemas.microsoft.com/office/powerpoint/2010/main" val="337584675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8F27B-874D-477A-A367-0B860F1D3D86}"/>
              </a:ext>
            </a:extLst>
          </p:cNvPr>
          <p:cNvSpPr>
            <a:spLocks noGrp="1"/>
          </p:cNvSpPr>
          <p:nvPr>
            <p:ph type="title"/>
          </p:nvPr>
        </p:nvSpPr>
        <p:spPr/>
        <p:txBody>
          <a:bodyPr/>
          <a:lstStyle/>
          <a:p>
            <a:r>
              <a:rPr lang="en-US" dirty="0">
                <a:solidFill>
                  <a:schemeClr val="tx1">
                    <a:lumMod val="50000"/>
                  </a:schemeClr>
                </a:solidFill>
              </a:rPr>
              <a:t>Azure migration journey</a:t>
            </a:r>
          </a:p>
        </p:txBody>
      </p:sp>
      <p:sp>
        <p:nvSpPr>
          <p:cNvPr id="9" name="Send" title="Icon of a paper airplane">
            <a:extLst>
              <a:ext uri="{FF2B5EF4-FFF2-40B4-BE49-F238E27FC236}">
                <a16:creationId xmlns:a16="http://schemas.microsoft.com/office/drawing/2014/main" id="{AAF186A2-8F72-4C97-85B6-74F41BA22942}"/>
              </a:ext>
            </a:extLst>
          </p:cNvPr>
          <p:cNvSpPr>
            <a:spLocks noChangeAspect="1" noEditPoints="1"/>
          </p:cNvSpPr>
          <p:nvPr/>
        </p:nvSpPr>
        <p:spPr bwMode="auto">
          <a:xfrm>
            <a:off x="5549900" y="1676876"/>
            <a:ext cx="914400" cy="611792"/>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1" i="0" u="none" strike="noStrike" kern="1200" cap="none" spc="0" normalizeH="0" baseline="0" noProof="0">
              <a:ln>
                <a:noFill/>
              </a:ln>
              <a:solidFill>
                <a:schemeClr val="tx2"/>
              </a:solidFill>
              <a:effectLst/>
              <a:uLnTx/>
              <a:uFillTx/>
              <a:latin typeface="Segoe UI Semilight"/>
              <a:ea typeface="+mn-ea"/>
              <a:cs typeface="+mn-cs"/>
            </a:endParaRPr>
          </a:p>
        </p:txBody>
      </p:sp>
      <p:sp>
        <p:nvSpPr>
          <p:cNvPr id="5" name="speedometer_2" title="Icon of a spedometer showing fast speed">
            <a:extLst>
              <a:ext uri="{FF2B5EF4-FFF2-40B4-BE49-F238E27FC236}">
                <a16:creationId xmlns:a16="http://schemas.microsoft.com/office/drawing/2014/main" id="{1A86CFB1-7C5C-43A8-8CD3-D67D1F4EAC27}"/>
              </a:ext>
            </a:extLst>
          </p:cNvPr>
          <p:cNvSpPr>
            <a:spLocks noChangeAspect="1" noEditPoints="1"/>
          </p:cNvSpPr>
          <p:nvPr/>
        </p:nvSpPr>
        <p:spPr bwMode="auto">
          <a:xfrm>
            <a:off x="9563366" y="1420962"/>
            <a:ext cx="914400" cy="91440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882" b="1" i="0" u="none" strike="noStrike" kern="1200" cap="none" spc="0" normalizeH="0" baseline="0" noProof="0">
              <a:ln>
                <a:noFill/>
              </a:ln>
              <a:solidFill>
                <a:schemeClr val="tx2"/>
              </a:soli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01BA1F12-AA92-4A72-9B18-FC9EF8857717}"/>
              </a:ext>
            </a:extLst>
          </p:cNvPr>
          <p:cNvCxnSpPr>
            <a:cxnSpLocks/>
          </p:cNvCxnSpPr>
          <p:nvPr/>
        </p:nvCxnSpPr>
        <p:spPr>
          <a:xfrm>
            <a:off x="586740" y="2700895"/>
            <a:ext cx="2593368"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5417CD1-0CAA-4D5D-BC0C-DF696FE76B39}"/>
              </a:ext>
            </a:extLst>
          </p:cNvPr>
          <p:cNvSpPr/>
          <p:nvPr/>
        </p:nvSpPr>
        <p:spPr bwMode="auto">
          <a:xfrm>
            <a:off x="455994" y="3041202"/>
            <a:ext cx="2361442" cy="3877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tx2"/>
                </a:solidFill>
                <a:effectLst/>
                <a:uLnTx/>
                <a:uFillTx/>
                <a:latin typeface="Segoe UI Semilight"/>
                <a:ea typeface="+mn-ea"/>
                <a:cs typeface="Calibri" panose="020F0502020204030204" pitchFamily="34" charset="0"/>
              </a:rPr>
              <a:t>Assess</a:t>
            </a:r>
          </a:p>
        </p:txBody>
      </p:sp>
      <p:sp>
        <p:nvSpPr>
          <p:cNvPr id="36" name="Rectangle 35">
            <a:extLst>
              <a:ext uri="{FF2B5EF4-FFF2-40B4-BE49-F238E27FC236}">
                <a16:creationId xmlns:a16="http://schemas.microsoft.com/office/drawing/2014/main" id="{5EB19DF2-C642-4986-A825-1B189E901D18}"/>
              </a:ext>
            </a:extLst>
          </p:cNvPr>
          <p:cNvSpPr/>
          <p:nvPr/>
        </p:nvSpPr>
        <p:spPr bwMode="auto">
          <a:xfrm>
            <a:off x="4178300" y="3041202"/>
            <a:ext cx="3657600" cy="3877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tx2"/>
                </a:solidFill>
                <a:effectLst/>
                <a:uLnTx/>
                <a:uFillTx/>
                <a:latin typeface="Segoe UI Semilight"/>
                <a:ea typeface="+mn-ea"/>
                <a:cs typeface="Calibri" panose="020F0502020204030204" pitchFamily="34" charset="0"/>
              </a:rPr>
              <a:t>Migrate</a:t>
            </a:r>
          </a:p>
        </p:txBody>
      </p:sp>
      <p:sp>
        <p:nvSpPr>
          <p:cNvPr id="37" name="Rectangle 36">
            <a:extLst>
              <a:ext uri="{FF2B5EF4-FFF2-40B4-BE49-F238E27FC236}">
                <a16:creationId xmlns:a16="http://schemas.microsoft.com/office/drawing/2014/main" id="{D5F85A02-87C3-4281-99EC-2A69DC649DBA}"/>
              </a:ext>
            </a:extLst>
          </p:cNvPr>
          <p:cNvSpPr/>
          <p:nvPr/>
        </p:nvSpPr>
        <p:spPr bwMode="auto">
          <a:xfrm>
            <a:off x="8191766" y="3058723"/>
            <a:ext cx="3657600" cy="3877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tx2"/>
                </a:solidFill>
                <a:effectLst/>
                <a:uLnTx/>
                <a:uFillTx/>
                <a:latin typeface="Segoe UI Semilight"/>
                <a:ea typeface="+mn-ea"/>
                <a:cs typeface="Calibri" panose="020F0502020204030204" pitchFamily="34" charset="0"/>
              </a:rPr>
              <a:t>Optimize</a:t>
            </a:r>
          </a:p>
        </p:txBody>
      </p:sp>
      <p:grpSp>
        <p:nvGrpSpPr>
          <p:cNvPr id="14" name="Group 13">
            <a:extLst>
              <a:ext uri="{FF2B5EF4-FFF2-40B4-BE49-F238E27FC236}">
                <a16:creationId xmlns:a16="http://schemas.microsoft.com/office/drawing/2014/main" id="{F72CDA3C-40A3-4D3D-AEBD-567D108ACE01}"/>
              </a:ext>
            </a:extLst>
          </p:cNvPr>
          <p:cNvGrpSpPr>
            <a:grpSpLocks noChangeAspect="1"/>
          </p:cNvGrpSpPr>
          <p:nvPr/>
        </p:nvGrpSpPr>
        <p:grpSpPr>
          <a:xfrm>
            <a:off x="1394667" y="1455837"/>
            <a:ext cx="914400" cy="879525"/>
            <a:chOff x="749832" y="4317776"/>
            <a:chExt cx="277735" cy="267142"/>
          </a:xfrm>
        </p:grpSpPr>
        <p:sp>
          <p:nvSpPr>
            <p:cNvPr id="15" name="magnify" title="Icon of a magnifying glass">
              <a:extLst>
                <a:ext uri="{FF2B5EF4-FFF2-40B4-BE49-F238E27FC236}">
                  <a16:creationId xmlns:a16="http://schemas.microsoft.com/office/drawing/2014/main" id="{2A9B02DC-8578-4114-90EF-A78DEED1E8D9}"/>
                </a:ext>
              </a:extLst>
            </p:cNvPr>
            <p:cNvSpPr>
              <a:spLocks noChangeAspect="1" noEditPoints="1"/>
            </p:cNvSpPr>
            <p:nvPr/>
          </p:nvSpPr>
          <p:spPr bwMode="auto">
            <a:xfrm flipH="1">
              <a:off x="749832" y="4317776"/>
              <a:ext cx="277735" cy="26714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chemeClr val="tx2"/>
                </a:solidFill>
                <a:effectLst/>
                <a:uLnTx/>
                <a:uFillTx/>
                <a:latin typeface="Segoe UI Semilight"/>
                <a:ea typeface="+mn-ea"/>
                <a:cs typeface="+mn-cs"/>
              </a:endParaRPr>
            </a:p>
          </p:txBody>
        </p:sp>
        <p:sp>
          <p:nvSpPr>
            <p:cNvPr id="16" name="Rectangle 15">
              <a:extLst>
                <a:ext uri="{FF2B5EF4-FFF2-40B4-BE49-F238E27FC236}">
                  <a16:creationId xmlns:a16="http://schemas.microsoft.com/office/drawing/2014/main" id="{00AED4A8-1B43-4685-BE9C-300C59C4700F}"/>
                </a:ext>
              </a:extLst>
            </p:cNvPr>
            <p:cNvSpPr/>
            <p:nvPr/>
          </p:nvSpPr>
          <p:spPr bwMode="auto">
            <a:xfrm>
              <a:off x="904218" y="4366496"/>
              <a:ext cx="69147" cy="83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err="1">
                <a:ln>
                  <a:noFill/>
                </a:ln>
                <a:solidFill>
                  <a:schemeClr val="tx2"/>
                </a:solidFill>
                <a:effectLst/>
                <a:uLnTx/>
                <a:uFillTx/>
                <a:latin typeface="Segoe UI Semilight"/>
                <a:ea typeface="Segoe UI" pitchFamily="34" charset="0"/>
                <a:cs typeface="Segoe UI" pitchFamily="34" charset="0"/>
              </a:endParaRPr>
            </a:p>
          </p:txBody>
        </p:sp>
      </p:grpSp>
      <p:sp>
        <p:nvSpPr>
          <p:cNvPr id="17" name="Text Placeholder 5">
            <a:extLst>
              <a:ext uri="{FF2B5EF4-FFF2-40B4-BE49-F238E27FC236}">
                <a16:creationId xmlns:a16="http://schemas.microsoft.com/office/drawing/2014/main" id="{04289C34-71C3-4D91-B815-9729406F815C}"/>
              </a:ext>
            </a:extLst>
          </p:cNvPr>
          <p:cNvSpPr txBox="1">
            <a:spLocks/>
          </p:cNvSpPr>
          <p:nvPr/>
        </p:nvSpPr>
        <p:spPr>
          <a:xfrm>
            <a:off x="586740" y="3765251"/>
            <a:ext cx="11018520" cy="232679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Discover/Assess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phase brings visibility into apps, workloads, and data in your environment</a:t>
            </a:r>
          </a:p>
          <a:p>
            <a:pPr marL="0" marR="0" lvl="0" indent="0" algn="l" defTabSz="932742" rtl="0" eaLnBrk="1" fontAlgn="auto" latinLnBrk="0" hangingPunct="1">
              <a:lnSpc>
                <a:spcPct val="100000"/>
              </a:lnSpc>
              <a:spcBef>
                <a:spcPct val="20000"/>
              </a:spcBef>
              <a:spcAft>
                <a:spcPts val="0"/>
              </a:spcAft>
              <a:buClrTx/>
              <a:buSzPct val="90000"/>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Migrat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your selected workloads to Azure</a:t>
            </a:r>
          </a:p>
          <a:p>
            <a:pPr marL="0" marR="0" lvl="0" indent="0" algn="l" defTabSz="932742" rtl="0" eaLnBrk="1" fontAlgn="auto" latinLnBrk="0" hangingPunct="1">
              <a:lnSpc>
                <a:spcPct val="100000"/>
              </a:lnSpc>
              <a:spcBef>
                <a:spcPct val="20000"/>
              </a:spcBef>
              <a:spcAft>
                <a:spcPts val="0"/>
              </a:spcAft>
              <a:buClrTx/>
              <a:buSzPct val="90000"/>
              <a:buNone/>
              <a:tabLst/>
              <a:defRPr/>
            </a:pP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Optimiz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your Azure-based workloads to realize the benefits of moving them to the cloud</a:t>
            </a:r>
          </a:p>
        </p:txBody>
      </p:sp>
      <p:cxnSp>
        <p:nvCxnSpPr>
          <p:cNvPr id="18" name="Straight Connector 17">
            <a:extLst>
              <a:ext uri="{FF2B5EF4-FFF2-40B4-BE49-F238E27FC236}">
                <a16:creationId xmlns:a16="http://schemas.microsoft.com/office/drawing/2014/main" id="{EE93082E-CA1C-4002-B920-5A9533402F3C}"/>
              </a:ext>
            </a:extLst>
          </p:cNvPr>
          <p:cNvCxnSpPr>
            <a:cxnSpLocks/>
          </p:cNvCxnSpPr>
          <p:nvPr/>
        </p:nvCxnSpPr>
        <p:spPr>
          <a:xfrm>
            <a:off x="4593804" y="2700895"/>
            <a:ext cx="2593368"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532C56B-7677-4598-B42D-93DA0D01220C}"/>
              </a:ext>
            </a:extLst>
          </p:cNvPr>
          <p:cNvCxnSpPr>
            <a:cxnSpLocks/>
          </p:cNvCxnSpPr>
          <p:nvPr/>
        </p:nvCxnSpPr>
        <p:spPr>
          <a:xfrm>
            <a:off x="8860861" y="2697974"/>
            <a:ext cx="2593368"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0812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5" grpId="0" animBg="1"/>
      <p:bldP spid="35" grpId="0"/>
      <p:bldP spid="36" grpId="0"/>
      <p:bldP spid="3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igration Phases - Assess</a:t>
            </a:r>
          </a:p>
        </p:txBody>
      </p:sp>
      <p:sp>
        <p:nvSpPr>
          <p:cNvPr id="6" name="Text Placeholder 5">
            <a:extLst>
              <a:ext uri="{FF2B5EF4-FFF2-40B4-BE49-F238E27FC236}">
                <a16:creationId xmlns:a16="http://schemas.microsoft.com/office/drawing/2014/main" id="{2181237B-6207-4EDD-98CC-DF7DF221E919}"/>
              </a:ext>
            </a:extLst>
          </p:cNvPr>
          <p:cNvSpPr>
            <a:spLocks noGrp="1"/>
          </p:cNvSpPr>
          <p:nvPr>
            <p:ph type="body" sz="quarter" idx="10"/>
          </p:nvPr>
        </p:nvSpPr>
        <p:spPr>
          <a:xfrm>
            <a:off x="584200" y="1435497"/>
            <a:ext cx="11018520" cy="4180888"/>
          </a:xfrm>
        </p:spPr>
        <p:txBody>
          <a:bodyPr/>
          <a:lstStyle/>
          <a:p>
            <a:r>
              <a:rPr lang="en-US" sz="3600" dirty="0"/>
              <a:t>Assessment</a:t>
            </a:r>
          </a:p>
          <a:p>
            <a:pPr lvl="1"/>
            <a:endParaRPr lang="en-US" sz="2800" dirty="0"/>
          </a:p>
          <a:p>
            <a:pPr marL="342900" indent="-342900">
              <a:buFont typeface="Wingdings" panose="05000000000000000000" pitchFamily="2" charset="2"/>
              <a:buChar char="§"/>
            </a:pPr>
            <a:r>
              <a:rPr lang="en-US" sz="2392" dirty="0">
                <a:solidFill>
                  <a:schemeClr val="tx2"/>
                </a:solidFill>
              </a:rPr>
              <a:t>use a mixture of software tools and consultancy best practices to: </a:t>
            </a:r>
          </a:p>
          <a:p>
            <a:endParaRPr lang="en-US" sz="2392" dirty="0"/>
          </a:p>
          <a:p>
            <a:pPr marL="342900" lvl="3" indent="-342900">
              <a:buFont typeface="Wingdings" panose="05000000000000000000" pitchFamily="2" charset="2"/>
              <a:buChar char="§"/>
            </a:pPr>
            <a:r>
              <a:rPr lang="en-US" sz="2000" dirty="0"/>
              <a:t>discover what applications can be migrated, </a:t>
            </a:r>
          </a:p>
          <a:p>
            <a:pPr marL="342900" lvl="3" indent="-342900">
              <a:buFont typeface="Wingdings" panose="05000000000000000000" pitchFamily="2" charset="2"/>
              <a:buChar char="§"/>
            </a:pPr>
            <a:r>
              <a:rPr lang="en-US" sz="2000" dirty="0"/>
              <a:t>what their current configurations are, </a:t>
            </a:r>
          </a:p>
          <a:p>
            <a:pPr marL="342900" lvl="3" indent="-342900">
              <a:buFont typeface="Wingdings" panose="05000000000000000000" pitchFamily="2" charset="2"/>
              <a:buChar char="§"/>
            </a:pPr>
            <a:r>
              <a:rPr lang="en-US" sz="2000" dirty="0"/>
              <a:t>the people within your customer that will be impacted by the migration, </a:t>
            </a:r>
          </a:p>
          <a:p>
            <a:pPr marL="342900" lvl="3" indent="-342900">
              <a:buFont typeface="Wingdings" panose="05000000000000000000" pitchFamily="2" charset="2"/>
              <a:buChar char="§"/>
            </a:pPr>
            <a:r>
              <a:rPr lang="en-US" sz="2000" dirty="0"/>
              <a:t>identify the dependencies of the application. </a:t>
            </a:r>
          </a:p>
          <a:p>
            <a:pPr lvl="3"/>
            <a:endParaRPr lang="en-US" sz="2000" dirty="0"/>
          </a:p>
          <a:p>
            <a:pPr marL="342900" indent="-342900">
              <a:buFont typeface="Wingdings" panose="05000000000000000000" pitchFamily="2" charset="2"/>
              <a:buChar char="§"/>
            </a:pPr>
            <a:r>
              <a:rPr lang="en-US" sz="2392" dirty="0"/>
              <a:t>The output of your assessment will include a comprehensive plan for what to do with the application and the expectations on availability and functionality. </a:t>
            </a:r>
          </a:p>
        </p:txBody>
      </p:sp>
      <p:pic>
        <p:nvPicPr>
          <p:cNvPr id="2" name="Picture 1">
            <a:extLst>
              <a:ext uri="{FF2B5EF4-FFF2-40B4-BE49-F238E27FC236}">
                <a16:creationId xmlns:a16="http://schemas.microsoft.com/office/drawing/2014/main" id="{AB06BA52-1477-4A14-9C89-27773C2D379E}"/>
              </a:ext>
            </a:extLst>
          </p:cNvPr>
          <p:cNvPicPr>
            <a:picLocks noChangeAspect="1"/>
          </p:cNvPicPr>
          <p:nvPr/>
        </p:nvPicPr>
        <p:blipFill>
          <a:blip r:embed="rId3"/>
          <a:stretch>
            <a:fillRect/>
          </a:stretch>
        </p:blipFill>
        <p:spPr>
          <a:xfrm>
            <a:off x="7760043" y="251915"/>
            <a:ext cx="4207934" cy="482284"/>
          </a:xfrm>
          <a:prstGeom prst="rect">
            <a:avLst/>
          </a:prstGeom>
        </p:spPr>
      </p:pic>
    </p:spTree>
    <p:extLst>
      <p:ext uri="{BB962C8B-B14F-4D97-AF65-F5344CB8AC3E}">
        <p14:creationId xmlns:p14="http://schemas.microsoft.com/office/powerpoint/2010/main" val="4023056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igration Phases - Migrate</a:t>
            </a:r>
          </a:p>
        </p:txBody>
      </p:sp>
      <p:sp>
        <p:nvSpPr>
          <p:cNvPr id="6" name="Text Placeholder 5">
            <a:extLst>
              <a:ext uri="{FF2B5EF4-FFF2-40B4-BE49-F238E27FC236}">
                <a16:creationId xmlns:a16="http://schemas.microsoft.com/office/drawing/2014/main" id="{2181237B-6207-4EDD-98CC-DF7DF221E919}"/>
              </a:ext>
            </a:extLst>
          </p:cNvPr>
          <p:cNvSpPr>
            <a:spLocks noGrp="1"/>
          </p:cNvSpPr>
          <p:nvPr>
            <p:ph type="body" sz="quarter" idx="10"/>
          </p:nvPr>
        </p:nvSpPr>
        <p:spPr>
          <a:xfrm>
            <a:off x="584200" y="1435497"/>
            <a:ext cx="11018520" cy="4185761"/>
          </a:xfrm>
        </p:spPr>
        <p:txBody>
          <a:bodyPr/>
          <a:lstStyle/>
          <a:p>
            <a:r>
              <a:rPr lang="en-US" sz="3600" dirty="0"/>
              <a:t>Migrate</a:t>
            </a:r>
          </a:p>
          <a:p>
            <a:endParaRPr lang="en-US" sz="3600" dirty="0"/>
          </a:p>
          <a:p>
            <a:pPr marL="342900" lvl="1" indent="-342900">
              <a:buFont typeface="Wingdings" panose="05000000000000000000" pitchFamily="2" charset="2"/>
              <a:buChar char="§"/>
            </a:pPr>
            <a:r>
              <a:rPr lang="en-US" sz="2400" b="1" dirty="0">
                <a:solidFill>
                  <a:schemeClr val="tx2"/>
                </a:solidFill>
              </a:rPr>
              <a:t>The following steps are usually taken:</a:t>
            </a:r>
          </a:p>
          <a:p>
            <a:pPr lvl="1"/>
            <a:endParaRPr lang="en-US" sz="2400" dirty="0"/>
          </a:p>
          <a:p>
            <a:pPr marL="342900" lvl="2" indent="-342900">
              <a:buFont typeface="Wingdings" panose="05000000000000000000" pitchFamily="2" charset="2"/>
              <a:buChar char="§"/>
            </a:pPr>
            <a:r>
              <a:rPr lang="en-US" sz="2000" dirty="0">
                <a:solidFill>
                  <a:schemeClr val="tx1"/>
                </a:solidFill>
                <a:latin typeface="+mn-lt"/>
              </a:rPr>
              <a:t>Setup Azure subscriptions using best practices for security, connectivity, policies and general governance prior to migration to ensure your customers are using Azure correctly from the start. </a:t>
            </a:r>
          </a:p>
          <a:p>
            <a:pPr marL="342900" lvl="2" indent="-342900">
              <a:buFont typeface="Wingdings" panose="05000000000000000000" pitchFamily="2" charset="2"/>
              <a:buChar char="§"/>
            </a:pPr>
            <a:r>
              <a:rPr lang="en-US" sz="2000" dirty="0">
                <a:solidFill>
                  <a:schemeClr val="tx1"/>
                </a:solidFill>
                <a:latin typeface="+mn-lt"/>
              </a:rPr>
              <a:t>Perform the migration using the prescribed method identified in the assessment plan: rehost, retire, replace, rearchitect or retain. </a:t>
            </a:r>
          </a:p>
          <a:p>
            <a:pPr marL="342900" lvl="2" indent="-342900">
              <a:buFont typeface="Wingdings" panose="05000000000000000000" pitchFamily="2" charset="2"/>
              <a:buChar char="§"/>
            </a:pPr>
            <a:r>
              <a:rPr lang="en-US" sz="2000" dirty="0">
                <a:solidFill>
                  <a:schemeClr val="tx1"/>
                </a:solidFill>
                <a:latin typeface="+mn-lt"/>
              </a:rPr>
              <a:t>Evaluate and test to ensure the migrated application meets the criteria outlined in your assessment. </a:t>
            </a:r>
          </a:p>
        </p:txBody>
      </p:sp>
      <p:pic>
        <p:nvPicPr>
          <p:cNvPr id="2" name="Picture 1">
            <a:extLst>
              <a:ext uri="{FF2B5EF4-FFF2-40B4-BE49-F238E27FC236}">
                <a16:creationId xmlns:a16="http://schemas.microsoft.com/office/drawing/2014/main" id="{AB06BA52-1477-4A14-9C89-27773C2D379E}"/>
              </a:ext>
            </a:extLst>
          </p:cNvPr>
          <p:cNvPicPr>
            <a:picLocks noChangeAspect="1"/>
          </p:cNvPicPr>
          <p:nvPr/>
        </p:nvPicPr>
        <p:blipFill>
          <a:blip r:embed="rId3"/>
          <a:stretch>
            <a:fillRect/>
          </a:stretch>
        </p:blipFill>
        <p:spPr>
          <a:xfrm>
            <a:off x="7760043" y="251915"/>
            <a:ext cx="4207934" cy="482284"/>
          </a:xfrm>
          <a:prstGeom prst="rect">
            <a:avLst/>
          </a:prstGeom>
        </p:spPr>
      </p:pic>
    </p:spTree>
    <p:extLst>
      <p:ext uri="{BB962C8B-B14F-4D97-AF65-F5344CB8AC3E}">
        <p14:creationId xmlns:p14="http://schemas.microsoft.com/office/powerpoint/2010/main" val="349723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igration Phases - Optimize</a:t>
            </a:r>
          </a:p>
        </p:txBody>
      </p:sp>
      <p:sp>
        <p:nvSpPr>
          <p:cNvPr id="6" name="Text Placeholder 5">
            <a:extLst>
              <a:ext uri="{FF2B5EF4-FFF2-40B4-BE49-F238E27FC236}">
                <a16:creationId xmlns:a16="http://schemas.microsoft.com/office/drawing/2014/main" id="{2181237B-6207-4EDD-98CC-DF7DF221E919}"/>
              </a:ext>
            </a:extLst>
          </p:cNvPr>
          <p:cNvSpPr>
            <a:spLocks noGrp="1"/>
          </p:cNvSpPr>
          <p:nvPr>
            <p:ph type="body" sz="quarter" idx="10"/>
          </p:nvPr>
        </p:nvSpPr>
        <p:spPr>
          <a:xfrm>
            <a:off x="584200" y="1435497"/>
            <a:ext cx="11018520" cy="4616648"/>
          </a:xfrm>
        </p:spPr>
        <p:txBody>
          <a:bodyPr/>
          <a:lstStyle/>
          <a:p>
            <a:r>
              <a:rPr lang="en-US" sz="3600" dirty="0"/>
              <a:t>Optimize</a:t>
            </a:r>
          </a:p>
          <a:p>
            <a:endParaRPr lang="en-US" sz="3600" dirty="0"/>
          </a:p>
          <a:p>
            <a:pPr marL="342900" lvl="1" indent="-342900">
              <a:buFont typeface="Wingdings" panose="05000000000000000000" pitchFamily="2" charset="2"/>
              <a:buChar char="§"/>
            </a:pPr>
            <a:r>
              <a:rPr lang="en-US" sz="2400" dirty="0">
                <a:solidFill>
                  <a:schemeClr val="tx2"/>
                </a:solidFill>
                <a:latin typeface="+mj-lt"/>
              </a:rPr>
              <a:t>use Azure security and management resources to govern, secure, and monitor your cloud applications in Azure. </a:t>
            </a:r>
          </a:p>
          <a:p>
            <a:pPr marL="342900" lvl="1" indent="-342900">
              <a:buFont typeface="Wingdings" panose="05000000000000000000" pitchFamily="2" charset="2"/>
              <a:buChar char="§"/>
            </a:pPr>
            <a:endParaRPr lang="en-US" sz="2400" dirty="0">
              <a:solidFill>
                <a:schemeClr val="tx2"/>
              </a:solidFill>
              <a:latin typeface="+mj-lt"/>
            </a:endParaRPr>
          </a:p>
          <a:p>
            <a:pPr marL="342900" lvl="1" indent="-342900">
              <a:buFont typeface="Wingdings" panose="05000000000000000000" pitchFamily="2" charset="2"/>
              <a:buChar char="§"/>
            </a:pPr>
            <a:r>
              <a:rPr lang="en-US" sz="2400" dirty="0">
                <a:solidFill>
                  <a:schemeClr val="tx2"/>
                </a:solidFill>
                <a:latin typeface="+mj-lt"/>
              </a:rPr>
              <a:t>Common tasks at this stage are:</a:t>
            </a:r>
          </a:p>
          <a:p>
            <a:pPr marL="342900" lvl="2" indent="-342900">
              <a:buFont typeface="Wingdings" panose="05000000000000000000" pitchFamily="2" charset="2"/>
              <a:buChar char="§"/>
            </a:pPr>
            <a:r>
              <a:rPr lang="en-US" sz="2000" dirty="0">
                <a:solidFill>
                  <a:schemeClr val="tx1"/>
                </a:solidFill>
              </a:rPr>
              <a:t>Review Azure cost management to track spending and identify areas for cost savings.</a:t>
            </a:r>
          </a:p>
          <a:p>
            <a:pPr marL="342900" lvl="2" indent="-342900">
              <a:buFont typeface="Wingdings" panose="05000000000000000000" pitchFamily="2" charset="2"/>
              <a:buChar char="§"/>
            </a:pPr>
            <a:r>
              <a:rPr lang="en-US" sz="2000" dirty="0">
                <a:solidFill>
                  <a:schemeClr val="tx1"/>
                </a:solidFill>
              </a:rPr>
              <a:t>Evaluate migrated applications for opportunities to right size over provisioned virtual machines and services.</a:t>
            </a:r>
          </a:p>
          <a:p>
            <a:pPr marL="342900" lvl="2" indent="-342900">
              <a:buFont typeface="Wingdings" panose="05000000000000000000" pitchFamily="2" charset="2"/>
              <a:buChar char="§"/>
            </a:pPr>
            <a:r>
              <a:rPr lang="en-US" sz="2000" dirty="0">
                <a:solidFill>
                  <a:schemeClr val="tx1"/>
                </a:solidFill>
              </a:rPr>
              <a:t>Implement automation to resize or stop based on a utilization schedule.</a:t>
            </a:r>
          </a:p>
          <a:p>
            <a:pPr marL="342900" lvl="2" indent="-342900">
              <a:buFont typeface="Wingdings" panose="05000000000000000000" pitchFamily="2" charset="2"/>
              <a:buChar char="§"/>
            </a:pPr>
            <a:r>
              <a:rPr lang="en-US" sz="2000" dirty="0">
                <a:solidFill>
                  <a:schemeClr val="tx1"/>
                </a:solidFill>
              </a:rPr>
              <a:t>Identify applications that could benefit from optimization with platform as a service (PaaS) services or containers. </a:t>
            </a:r>
          </a:p>
        </p:txBody>
      </p:sp>
      <p:pic>
        <p:nvPicPr>
          <p:cNvPr id="2" name="Picture 1">
            <a:extLst>
              <a:ext uri="{FF2B5EF4-FFF2-40B4-BE49-F238E27FC236}">
                <a16:creationId xmlns:a16="http://schemas.microsoft.com/office/drawing/2014/main" id="{AB06BA52-1477-4A14-9C89-27773C2D379E}"/>
              </a:ext>
            </a:extLst>
          </p:cNvPr>
          <p:cNvPicPr>
            <a:picLocks noChangeAspect="1"/>
          </p:cNvPicPr>
          <p:nvPr/>
        </p:nvPicPr>
        <p:blipFill>
          <a:blip r:embed="rId3"/>
          <a:stretch>
            <a:fillRect/>
          </a:stretch>
        </p:blipFill>
        <p:spPr>
          <a:xfrm>
            <a:off x="7760043" y="251915"/>
            <a:ext cx="4207934" cy="482284"/>
          </a:xfrm>
          <a:prstGeom prst="rect">
            <a:avLst/>
          </a:prstGeom>
        </p:spPr>
      </p:pic>
    </p:spTree>
    <p:extLst>
      <p:ext uri="{BB962C8B-B14F-4D97-AF65-F5344CB8AC3E}">
        <p14:creationId xmlns:p14="http://schemas.microsoft.com/office/powerpoint/2010/main" val="340862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EE1A83E-DD8F-4C6B-9539-82D2A4104D04}"/>
              </a:ext>
            </a:extLst>
          </p:cNvPr>
          <p:cNvGrpSpPr/>
          <p:nvPr/>
        </p:nvGrpSpPr>
        <p:grpSpPr>
          <a:xfrm>
            <a:off x="2830055" y="2333837"/>
            <a:ext cx="5924882" cy="3256570"/>
            <a:chOff x="3000044" y="2571749"/>
            <a:chExt cx="5924882" cy="3052035"/>
          </a:xfrm>
        </p:grpSpPr>
        <p:sp>
          <p:nvSpPr>
            <p:cNvPr id="104" name="Rectangle 103">
              <a:extLst>
                <a:ext uri="{FF2B5EF4-FFF2-40B4-BE49-F238E27FC236}">
                  <a16:creationId xmlns:a16="http://schemas.microsoft.com/office/drawing/2014/main" id="{3534B5A5-AC54-4F29-A199-269D4FB86737}"/>
                </a:ext>
              </a:extLst>
            </p:cNvPr>
            <p:cNvSpPr/>
            <p:nvPr/>
          </p:nvSpPr>
          <p:spPr bwMode="auto">
            <a:xfrm>
              <a:off x="3000044" y="2571749"/>
              <a:ext cx="5924882" cy="3052035"/>
            </a:xfrm>
            <a:prstGeom prst="rect">
              <a:avLst/>
            </a:prstGeom>
            <a:solidFill>
              <a:schemeClr val="bg2"/>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1" name="TextBox 70">
              <a:extLst>
                <a:ext uri="{FF2B5EF4-FFF2-40B4-BE49-F238E27FC236}">
                  <a16:creationId xmlns:a16="http://schemas.microsoft.com/office/drawing/2014/main" id="{FCE81FA7-2BC0-48E7-9571-9765278D3CE9}"/>
                </a:ext>
              </a:extLst>
            </p:cNvPr>
            <p:cNvSpPr txBox="1"/>
            <p:nvPr/>
          </p:nvSpPr>
          <p:spPr>
            <a:xfrm>
              <a:off x="3217579" y="2717827"/>
              <a:ext cx="5489812" cy="23364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zure Migrate: Unified, Extensible experience </a:t>
              </a:r>
            </a:p>
          </p:txBody>
        </p:sp>
      </p:grpSp>
      <p:sp>
        <p:nvSpPr>
          <p:cNvPr id="98" name="Rectangle 97">
            <a:extLst>
              <a:ext uri="{FF2B5EF4-FFF2-40B4-BE49-F238E27FC236}">
                <a16:creationId xmlns:a16="http://schemas.microsoft.com/office/drawing/2014/main" id="{8267B843-3E7B-4808-BF33-FED6E2B59E57}"/>
              </a:ext>
            </a:extLst>
          </p:cNvPr>
          <p:cNvSpPr/>
          <p:nvPr/>
        </p:nvSpPr>
        <p:spPr bwMode="auto">
          <a:xfrm>
            <a:off x="3275462" y="3011605"/>
            <a:ext cx="1062559"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ssess</a:t>
            </a:r>
          </a:p>
        </p:txBody>
      </p:sp>
      <p:sp>
        <p:nvSpPr>
          <p:cNvPr id="99" name="Rectangle 98">
            <a:extLst>
              <a:ext uri="{FF2B5EF4-FFF2-40B4-BE49-F238E27FC236}">
                <a16:creationId xmlns:a16="http://schemas.microsoft.com/office/drawing/2014/main" id="{D4E457B9-A44C-461D-8594-9299526D1EA1}"/>
              </a:ext>
            </a:extLst>
          </p:cNvPr>
          <p:cNvSpPr/>
          <p:nvPr/>
        </p:nvSpPr>
        <p:spPr bwMode="auto">
          <a:xfrm>
            <a:off x="4877012" y="3000694"/>
            <a:ext cx="1645780"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Migrate</a:t>
            </a:r>
          </a:p>
        </p:txBody>
      </p:sp>
      <p:sp>
        <p:nvSpPr>
          <p:cNvPr id="100" name="Rectangle 99">
            <a:extLst>
              <a:ext uri="{FF2B5EF4-FFF2-40B4-BE49-F238E27FC236}">
                <a16:creationId xmlns:a16="http://schemas.microsoft.com/office/drawing/2014/main" id="{082E2F0F-1FB7-4A68-9416-E387559DB4E7}"/>
              </a:ext>
            </a:extLst>
          </p:cNvPr>
          <p:cNvSpPr/>
          <p:nvPr/>
        </p:nvSpPr>
        <p:spPr bwMode="auto">
          <a:xfrm>
            <a:off x="6657760" y="3011605"/>
            <a:ext cx="1645780"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Optimize</a:t>
            </a:r>
          </a:p>
        </p:txBody>
      </p:sp>
      <p:sp>
        <p:nvSpPr>
          <p:cNvPr id="130" name="TextBox 129">
            <a:extLst>
              <a:ext uri="{FF2B5EF4-FFF2-40B4-BE49-F238E27FC236}">
                <a16:creationId xmlns:a16="http://schemas.microsoft.com/office/drawing/2014/main" id="{E4832594-8636-41A1-8E4C-C3E1EEAEC91E}"/>
              </a:ext>
            </a:extLst>
          </p:cNvPr>
          <p:cNvSpPr txBox="1"/>
          <p:nvPr/>
        </p:nvSpPr>
        <p:spPr>
          <a:xfrm>
            <a:off x="4655923" y="3962122"/>
            <a:ext cx="2095500" cy="707886"/>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rver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Database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torage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Data Box</a:t>
            </a:r>
          </a:p>
        </p:txBody>
      </p:sp>
      <p:sp>
        <p:nvSpPr>
          <p:cNvPr id="131" name="TextBox 130">
            <a:extLst>
              <a:ext uri="{FF2B5EF4-FFF2-40B4-BE49-F238E27FC236}">
                <a16:creationId xmlns:a16="http://schemas.microsoft.com/office/drawing/2014/main" id="{5C1A92DF-31AA-421B-9881-140C227508E0}"/>
              </a:ext>
            </a:extLst>
          </p:cNvPr>
          <p:cNvSpPr txBox="1"/>
          <p:nvPr/>
        </p:nvSpPr>
        <p:spPr>
          <a:xfrm>
            <a:off x="2545166" y="3962122"/>
            <a:ext cx="2559824" cy="246221"/>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rver Assessment Service</a:t>
            </a:r>
          </a:p>
        </p:txBody>
      </p:sp>
      <p:sp>
        <p:nvSpPr>
          <p:cNvPr id="132" name="TextBox 131">
            <a:extLst>
              <a:ext uri="{FF2B5EF4-FFF2-40B4-BE49-F238E27FC236}">
                <a16:creationId xmlns:a16="http://schemas.microsoft.com/office/drawing/2014/main" id="{927A599B-DD1E-4A72-8904-F14278374EE2}"/>
              </a:ext>
            </a:extLst>
          </p:cNvPr>
          <p:cNvSpPr txBox="1"/>
          <p:nvPr/>
        </p:nvSpPr>
        <p:spPr>
          <a:xfrm>
            <a:off x="6534512" y="3962122"/>
            <a:ext cx="2012178" cy="246221"/>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curity and Management </a:t>
            </a:r>
          </a:p>
        </p:txBody>
      </p:sp>
      <p:sp>
        <p:nvSpPr>
          <p:cNvPr id="133" name="Left Bracket 132">
            <a:extLst>
              <a:ext uri="{FF2B5EF4-FFF2-40B4-BE49-F238E27FC236}">
                <a16:creationId xmlns:a16="http://schemas.microsoft.com/office/drawing/2014/main" id="{CF114F75-5BBA-4E7A-8BB3-D48F34DE3FFA}"/>
              </a:ext>
            </a:extLst>
          </p:cNvPr>
          <p:cNvSpPr/>
          <p:nvPr/>
        </p:nvSpPr>
        <p:spPr>
          <a:xfrm rot="16200000">
            <a:off x="5681412" y="2024820"/>
            <a:ext cx="148134" cy="5494185"/>
          </a:xfrm>
          <a:prstGeom prst="leftBracket">
            <a:avLst>
              <a:gd name="adj" fmla="val 1903"/>
            </a:avLst>
          </a:pr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4" name="TextBox 133">
            <a:extLst>
              <a:ext uri="{FF2B5EF4-FFF2-40B4-BE49-F238E27FC236}">
                <a16:creationId xmlns:a16="http://schemas.microsoft.com/office/drawing/2014/main" id="{1CF15893-4420-4445-8573-4D619845AD37}"/>
              </a:ext>
            </a:extLst>
          </p:cNvPr>
          <p:cNvSpPr txBox="1"/>
          <p:nvPr/>
        </p:nvSpPr>
        <p:spPr>
          <a:xfrm>
            <a:off x="2763546" y="5079296"/>
            <a:ext cx="6057900" cy="4478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ISV integration  |  Migration progress tracking </a:t>
            </a:r>
          </a:p>
        </p:txBody>
      </p:sp>
      <p:sp>
        <p:nvSpPr>
          <p:cNvPr id="137" name="TextBox 136">
            <a:extLst>
              <a:ext uri="{FF2B5EF4-FFF2-40B4-BE49-F238E27FC236}">
                <a16:creationId xmlns:a16="http://schemas.microsoft.com/office/drawing/2014/main" id="{E1FBEE58-900A-4C80-B298-49A0A0E388ED}"/>
              </a:ext>
            </a:extLst>
          </p:cNvPr>
          <p:cNvSpPr txBox="1"/>
          <p:nvPr/>
        </p:nvSpPr>
        <p:spPr>
          <a:xfrm>
            <a:off x="2684337" y="5877992"/>
            <a:ext cx="6070600"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FastTrack for Azure  | Managed Service Providers  |  Systems integrators   </a:t>
            </a:r>
          </a:p>
        </p:txBody>
      </p:sp>
      <p:sp>
        <p:nvSpPr>
          <p:cNvPr id="144" name="TextBox 143">
            <a:extLst>
              <a:ext uri="{FF2B5EF4-FFF2-40B4-BE49-F238E27FC236}">
                <a16:creationId xmlns:a16="http://schemas.microsoft.com/office/drawing/2014/main" id="{F736F32B-F03B-48F3-9267-9F7FF7836EEF}"/>
              </a:ext>
            </a:extLst>
          </p:cNvPr>
          <p:cNvSpPr txBox="1"/>
          <p:nvPr/>
        </p:nvSpPr>
        <p:spPr>
          <a:xfrm>
            <a:off x="2363549" y="1844335"/>
            <a:ext cx="6791651" cy="341632"/>
          </a:xfrm>
          <a:prstGeom prst="rect">
            <a:avLst/>
          </a:prstGeom>
          <a:noFill/>
        </p:spPr>
        <p:txBody>
          <a:bodyPr wrap="square" lIns="0" tIns="146304"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zure TCO calculator  |  Azure migration center  |  Azure Essentials</a:t>
            </a:r>
          </a:p>
        </p:txBody>
      </p:sp>
      <p:sp>
        <p:nvSpPr>
          <p:cNvPr id="145" name="TextBox 144">
            <a:extLst>
              <a:ext uri="{FF2B5EF4-FFF2-40B4-BE49-F238E27FC236}">
                <a16:creationId xmlns:a16="http://schemas.microsoft.com/office/drawing/2014/main" id="{09799190-2932-4BB0-83EF-3289BC1F7F5F}"/>
              </a:ext>
            </a:extLst>
          </p:cNvPr>
          <p:cNvSpPr txBox="1"/>
          <p:nvPr/>
        </p:nvSpPr>
        <p:spPr>
          <a:xfrm>
            <a:off x="4504632" y="5686365"/>
            <a:ext cx="2575728" cy="249299"/>
          </a:xfrm>
          <a:prstGeom prst="rect">
            <a:avLst/>
          </a:prstGeom>
          <a:solidFill>
            <a:schemeClr val="tx2"/>
          </a:solid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Assisted</a:t>
            </a:r>
          </a:p>
        </p:txBody>
      </p:sp>
      <p:sp>
        <p:nvSpPr>
          <p:cNvPr id="146" name="TextBox 145">
            <a:extLst>
              <a:ext uri="{FF2B5EF4-FFF2-40B4-BE49-F238E27FC236}">
                <a16:creationId xmlns:a16="http://schemas.microsoft.com/office/drawing/2014/main" id="{3A2C78F6-646D-4885-B2CC-6B47BC42F8D3}"/>
              </a:ext>
            </a:extLst>
          </p:cNvPr>
          <p:cNvSpPr txBox="1"/>
          <p:nvPr/>
        </p:nvSpPr>
        <p:spPr>
          <a:xfrm>
            <a:off x="4471510" y="1641374"/>
            <a:ext cx="2575728" cy="249299"/>
          </a:xfrm>
          <a:prstGeom prst="rect">
            <a:avLst/>
          </a:prstGeom>
          <a:solidFill>
            <a:schemeClr val="tx2"/>
          </a:solid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Do it yourself</a:t>
            </a:r>
          </a:p>
        </p:txBody>
      </p:sp>
      <p:sp>
        <p:nvSpPr>
          <p:cNvPr id="69" name="arrow">
            <a:extLst>
              <a:ext uri="{FF2B5EF4-FFF2-40B4-BE49-F238E27FC236}">
                <a16:creationId xmlns:a16="http://schemas.microsoft.com/office/drawing/2014/main" id="{1BF3E129-7290-4F3F-8EAA-A21A287DFE00}"/>
              </a:ext>
            </a:extLst>
          </p:cNvPr>
          <p:cNvSpPr>
            <a:spLocks noChangeAspect="1" noEditPoints="1"/>
          </p:cNvSpPr>
          <p:nvPr/>
        </p:nvSpPr>
        <p:spPr bwMode="auto">
          <a:xfrm>
            <a:off x="2027922" y="3616118"/>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rgbClr val="00B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4" name="magnify">
            <a:extLst>
              <a:ext uri="{FF2B5EF4-FFF2-40B4-BE49-F238E27FC236}">
                <a16:creationId xmlns:a16="http://schemas.microsoft.com/office/drawing/2014/main" id="{C5A514FB-070A-48FD-A3EB-DB70D4475A8B}"/>
              </a:ext>
            </a:extLst>
          </p:cNvPr>
          <p:cNvSpPr>
            <a:spLocks noChangeAspect="1" noEditPoints="1"/>
          </p:cNvSpPr>
          <p:nvPr/>
        </p:nvSpPr>
        <p:spPr bwMode="auto">
          <a:xfrm flipH="1">
            <a:off x="3638635" y="337322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send">
            <a:extLst>
              <a:ext uri="{FF2B5EF4-FFF2-40B4-BE49-F238E27FC236}">
                <a16:creationId xmlns:a16="http://schemas.microsoft.com/office/drawing/2014/main" id="{8BA5592F-2CDB-488F-A9E2-32E05E2C9BBA}"/>
              </a:ext>
            </a:extLst>
          </p:cNvPr>
          <p:cNvSpPr>
            <a:spLocks noChangeAspect="1" noEditPoints="1"/>
          </p:cNvSpPr>
          <p:nvPr/>
        </p:nvSpPr>
        <p:spPr bwMode="auto">
          <a:xfrm>
            <a:off x="5526214" y="3453897"/>
            <a:ext cx="411480" cy="275528"/>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6" name="speedometer_2">
            <a:extLst>
              <a:ext uri="{FF2B5EF4-FFF2-40B4-BE49-F238E27FC236}">
                <a16:creationId xmlns:a16="http://schemas.microsoft.com/office/drawing/2014/main" id="{C86D56D1-F8DE-4ADF-B980-73FF0BD4EDFD}"/>
              </a:ext>
            </a:extLst>
          </p:cNvPr>
          <p:cNvSpPr>
            <a:spLocks noChangeAspect="1" noEditPoints="1"/>
          </p:cNvSpPr>
          <p:nvPr/>
        </p:nvSpPr>
        <p:spPr bwMode="auto">
          <a:xfrm>
            <a:off x="7297770" y="3373223"/>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arrow">
            <a:extLst>
              <a:ext uri="{FF2B5EF4-FFF2-40B4-BE49-F238E27FC236}">
                <a16:creationId xmlns:a16="http://schemas.microsoft.com/office/drawing/2014/main" id="{59E93BAB-435B-41C4-AC21-B84D855BCA10}"/>
              </a:ext>
            </a:extLst>
          </p:cNvPr>
          <p:cNvSpPr>
            <a:spLocks noChangeAspect="1" noEditPoints="1"/>
          </p:cNvSpPr>
          <p:nvPr/>
        </p:nvSpPr>
        <p:spPr bwMode="auto">
          <a:xfrm rot="5400000">
            <a:off x="5664783" y="4855795"/>
            <a:ext cx="181393" cy="16738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2" name="building_8">
            <a:extLst>
              <a:ext uri="{FF2B5EF4-FFF2-40B4-BE49-F238E27FC236}">
                <a16:creationId xmlns:a16="http://schemas.microsoft.com/office/drawing/2014/main" id="{C5097751-6C98-4FCE-8EBB-0F7C74BAC0D7}"/>
              </a:ext>
            </a:extLst>
          </p:cNvPr>
          <p:cNvSpPr>
            <a:spLocks noChangeAspect="1" noEditPoints="1"/>
          </p:cNvSpPr>
          <p:nvPr/>
        </p:nvSpPr>
        <p:spPr bwMode="auto">
          <a:xfrm>
            <a:off x="491726" y="3036852"/>
            <a:ext cx="1019269" cy="110700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3" name="TextBox 32">
            <a:extLst>
              <a:ext uri="{FF2B5EF4-FFF2-40B4-BE49-F238E27FC236}">
                <a16:creationId xmlns:a16="http://schemas.microsoft.com/office/drawing/2014/main" id="{5F7878FF-0297-4495-AA78-8D3BA07D1C32}"/>
              </a:ext>
            </a:extLst>
          </p:cNvPr>
          <p:cNvSpPr txBox="1"/>
          <p:nvPr/>
        </p:nvSpPr>
        <p:spPr>
          <a:xfrm>
            <a:off x="237289" y="4790418"/>
            <a:ext cx="1552592" cy="2492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On-premises</a:t>
            </a:r>
          </a:p>
        </p:txBody>
      </p:sp>
      <p:grpSp>
        <p:nvGrpSpPr>
          <p:cNvPr id="34" name="Group 33">
            <a:extLst>
              <a:ext uri="{FF2B5EF4-FFF2-40B4-BE49-F238E27FC236}">
                <a16:creationId xmlns:a16="http://schemas.microsoft.com/office/drawing/2014/main" id="{AE9B5D10-2E1D-42E7-8743-E5072C680533}"/>
              </a:ext>
            </a:extLst>
          </p:cNvPr>
          <p:cNvGrpSpPr/>
          <p:nvPr/>
        </p:nvGrpSpPr>
        <p:grpSpPr>
          <a:xfrm>
            <a:off x="315765" y="4338797"/>
            <a:ext cx="1459153" cy="257414"/>
            <a:chOff x="460135" y="4595813"/>
            <a:chExt cx="1195670" cy="210932"/>
          </a:xfrm>
        </p:grpSpPr>
        <p:sp>
          <p:nvSpPr>
            <p:cNvPr id="35" name="CellPhone_E8EA">
              <a:extLst>
                <a:ext uri="{FF2B5EF4-FFF2-40B4-BE49-F238E27FC236}">
                  <a16:creationId xmlns:a16="http://schemas.microsoft.com/office/drawing/2014/main" id="{536CA030-8C29-43E3-9337-982BEA274E73}"/>
                </a:ext>
              </a:extLst>
            </p:cNvPr>
            <p:cNvSpPr>
              <a:spLocks noChangeAspect="1" noEditPoints="1"/>
            </p:cNvSpPr>
            <p:nvPr/>
          </p:nvSpPr>
          <p:spPr bwMode="auto">
            <a:xfrm>
              <a:off x="460135" y="4595813"/>
              <a:ext cx="126580" cy="21093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6" name="Lock">
              <a:extLst>
                <a:ext uri="{FF2B5EF4-FFF2-40B4-BE49-F238E27FC236}">
                  <a16:creationId xmlns:a16="http://schemas.microsoft.com/office/drawing/2014/main" id="{A2ABB4FE-0B07-45C6-A8F3-829AD8D2B79D}"/>
                </a:ext>
              </a:extLst>
            </p:cNvPr>
            <p:cNvSpPr>
              <a:spLocks noChangeAspect="1" noEditPoints="1"/>
            </p:cNvSpPr>
            <p:nvPr/>
          </p:nvSpPr>
          <p:spPr bwMode="auto">
            <a:xfrm>
              <a:off x="554905" y="4720315"/>
              <a:ext cx="61839" cy="8642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binary">
              <a:extLst>
                <a:ext uri="{FF2B5EF4-FFF2-40B4-BE49-F238E27FC236}">
                  <a16:creationId xmlns:a16="http://schemas.microsoft.com/office/drawing/2014/main" id="{700E2D3D-807D-4F06-BFCF-934D747560F4}"/>
                </a:ext>
              </a:extLst>
            </p:cNvPr>
            <p:cNvSpPr>
              <a:spLocks noChangeAspect="1" noEditPoints="1"/>
            </p:cNvSpPr>
            <p:nvPr/>
          </p:nvSpPr>
          <p:spPr bwMode="auto">
            <a:xfrm>
              <a:off x="756680" y="4595813"/>
              <a:ext cx="244275" cy="2109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GenericApp_EB3B">
              <a:extLst>
                <a:ext uri="{FF2B5EF4-FFF2-40B4-BE49-F238E27FC236}">
                  <a16:creationId xmlns:a16="http://schemas.microsoft.com/office/drawing/2014/main" id="{9E029B10-8144-498C-9995-4C927F617B76}"/>
                </a:ext>
              </a:extLst>
            </p:cNvPr>
            <p:cNvSpPr>
              <a:spLocks noChangeAspect="1" noEditPoints="1"/>
            </p:cNvSpPr>
            <p:nvPr/>
          </p:nvSpPr>
          <p:spPr bwMode="auto">
            <a:xfrm>
              <a:off x="1140891" y="4595813"/>
              <a:ext cx="263560" cy="21093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server">
              <a:extLst>
                <a:ext uri="{FF2B5EF4-FFF2-40B4-BE49-F238E27FC236}">
                  <a16:creationId xmlns:a16="http://schemas.microsoft.com/office/drawing/2014/main" id="{EBA39099-0581-49E4-9E31-5BDB826E9FB9}"/>
                </a:ext>
              </a:extLst>
            </p:cNvPr>
            <p:cNvSpPr>
              <a:spLocks noChangeAspect="1" noEditPoints="1"/>
            </p:cNvSpPr>
            <p:nvPr/>
          </p:nvSpPr>
          <p:spPr bwMode="auto">
            <a:xfrm>
              <a:off x="1544386" y="4595813"/>
              <a:ext cx="111419" cy="210931"/>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40" name="Freeform: Shape 39">
            <a:extLst>
              <a:ext uri="{FF2B5EF4-FFF2-40B4-BE49-F238E27FC236}">
                <a16:creationId xmlns:a16="http://schemas.microsoft.com/office/drawing/2014/main" id="{475AC064-CBFE-4A24-AB3B-AA2D5E3DD8D6}"/>
              </a:ext>
            </a:extLst>
          </p:cNvPr>
          <p:cNvSpPr/>
          <p:nvPr/>
        </p:nvSpPr>
        <p:spPr bwMode="auto">
          <a:xfrm flipV="1">
            <a:off x="9910478" y="3172670"/>
            <a:ext cx="1884799" cy="103899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4" name="arrow">
            <a:extLst>
              <a:ext uri="{FF2B5EF4-FFF2-40B4-BE49-F238E27FC236}">
                <a16:creationId xmlns:a16="http://schemas.microsoft.com/office/drawing/2014/main" id="{653E6189-B3AA-44B8-9FDE-651C3BF34A03}"/>
              </a:ext>
            </a:extLst>
          </p:cNvPr>
          <p:cNvSpPr>
            <a:spLocks noChangeAspect="1" noEditPoints="1"/>
          </p:cNvSpPr>
          <p:nvPr/>
        </p:nvSpPr>
        <p:spPr bwMode="auto">
          <a:xfrm>
            <a:off x="9059024" y="3659847"/>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rgbClr val="00B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5" name="TextBox 44">
            <a:extLst>
              <a:ext uri="{FF2B5EF4-FFF2-40B4-BE49-F238E27FC236}">
                <a16:creationId xmlns:a16="http://schemas.microsoft.com/office/drawing/2014/main" id="{DEAE582D-7B8F-4485-B342-7EA4C4BBE3C5}"/>
              </a:ext>
            </a:extLst>
          </p:cNvPr>
          <p:cNvSpPr txBox="1"/>
          <p:nvPr/>
        </p:nvSpPr>
        <p:spPr>
          <a:xfrm>
            <a:off x="10516163" y="4792523"/>
            <a:ext cx="681502" cy="2492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zure</a:t>
            </a:r>
          </a:p>
        </p:txBody>
      </p:sp>
      <p:grpSp>
        <p:nvGrpSpPr>
          <p:cNvPr id="47" name="Group 46">
            <a:extLst>
              <a:ext uri="{FF2B5EF4-FFF2-40B4-BE49-F238E27FC236}">
                <a16:creationId xmlns:a16="http://schemas.microsoft.com/office/drawing/2014/main" id="{CB56E492-40BA-4FA9-9523-BE759FBA94A2}"/>
              </a:ext>
            </a:extLst>
          </p:cNvPr>
          <p:cNvGrpSpPr/>
          <p:nvPr/>
        </p:nvGrpSpPr>
        <p:grpSpPr>
          <a:xfrm>
            <a:off x="10192881" y="4403014"/>
            <a:ext cx="1459153" cy="257414"/>
            <a:chOff x="460135" y="4595813"/>
            <a:chExt cx="1195670" cy="210932"/>
          </a:xfrm>
        </p:grpSpPr>
        <p:sp>
          <p:nvSpPr>
            <p:cNvPr id="48" name="CellPhone_E8EA">
              <a:extLst>
                <a:ext uri="{FF2B5EF4-FFF2-40B4-BE49-F238E27FC236}">
                  <a16:creationId xmlns:a16="http://schemas.microsoft.com/office/drawing/2014/main" id="{3F9C591F-5631-482D-B454-3C6D3C8FB303}"/>
                </a:ext>
              </a:extLst>
            </p:cNvPr>
            <p:cNvSpPr>
              <a:spLocks noChangeAspect="1" noEditPoints="1"/>
            </p:cNvSpPr>
            <p:nvPr/>
          </p:nvSpPr>
          <p:spPr bwMode="auto">
            <a:xfrm>
              <a:off x="460135" y="4595813"/>
              <a:ext cx="126580" cy="21093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9" name="Lock">
              <a:extLst>
                <a:ext uri="{FF2B5EF4-FFF2-40B4-BE49-F238E27FC236}">
                  <a16:creationId xmlns:a16="http://schemas.microsoft.com/office/drawing/2014/main" id="{8141866B-C385-4B6E-9D04-64C96B4F2AF5}"/>
                </a:ext>
              </a:extLst>
            </p:cNvPr>
            <p:cNvSpPr>
              <a:spLocks noChangeAspect="1" noEditPoints="1"/>
            </p:cNvSpPr>
            <p:nvPr/>
          </p:nvSpPr>
          <p:spPr bwMode="auto">
            <a:xfrm>
              <a:off x="554905" y="4720315"/>
              <a:ext cx="61839" cy="8642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0" name="binary">
              <a:extLst>
                <a:ext uri="{FF2B5EF4-FFF2-40B4-BE49-F238E27FC236}">
                  <a16:creationId xmlns:a16="http://schemas.microsoft.com/office/drawing/2014/main" id="{B018D75E-E4D0-402E-9B01-7BA2C5FBCB27}"/>
                </a:ext>
              </a:extLst>
            </p:cNvPr>
            <p:cNvSpPr>
              <a:spLocks noChangeAspect="1" noEditPoints="1"/>
            </p:cNvSpPr>
            <p:nvPr/>
          </p:nvSpPr>
          <p:spPr bwMode="auto">
            <a:xfrm>
              <a:off x="756680" y="4595813"/>
              <a:ext cx="244275" cy="2109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1" name="GenericApp_EB3B">
              <a:extLst>
                <a:ext uri="{FF2B5EF4-FFF2-40B4-BE49-F238E27FC236}">
                  <a16:creationId xmlns:a16="http://schemas.microsoft.com/office/drawing/2014/main" id="{8600F540-A61C-448A-9F30-2E9F5C3070ED}"/>
                </a:ext>
              </a:extLst>
            </p:cNvPr>
            <p:cNvSpPr>
              <a:spLocks noChangeAspect="1" noEditPoints="1"/>
            </p:cNvSpPr>
            <p:nvPr/>
          </p:nvSpPr>
          <p:spPr bwMode="auto">
            <a:xfrm>
              <a:off x="1140891" y="4595813"/>
              <a:ext cx="263560" cy="21093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2" name="server">
              <a:extLst>
                <a:ext uri="{FF2B5EF4-FFF2-40B4-BE49-F238E27FC236}">
                  <a16:creationId xmlns:a16="http://schemas.microsoft.com/office/drawing/2014/main" id="{14F568E2-9ECF-4AAE-9B8E-597874245020}"/>
                </a:ext>
              </a:extLst>
            </p:cNvPr>
            <p:cNvSpPr>
              <a:spLocks noChangeAspect="1" noEditPoints="1"/>
            </p:cNvSpPr>
            <p:nvPr/>
          </p:nvSpPr>
          <p:spPr bwMode="auto">
            <a:xfrm>
              <a:off x="1544386" y="4595813"/>
              <a:ext cx="111419" cy="210931"/>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3" name="Title 2">
            <a:extLst>
              <a:ext uri="{FF2B5EF4-FFF2-40B4-BE49-F238E27FC236}">
                <a16:creationId xmlns:a16="http://schemas.microsoft.com/office/drawing/2014/main" id="{ADD70058-9265-4DD8-A79D-004D6FD75EF7}"/>
              </a:ext>
            </a:extLst>
          </p:cNvPr>
          <p:cNvSpPr>
            <a:spLocks noGrp="1"/>
          </p:cNvSpPr>
          <p:nvPr>
            <p:ph type="title"/>
          </p:nvPr>
        </p:nvSpPr>
        <p:spPr/>
        <p:txBody>
          <a:bodyPr/>
          <a:lstStyle/>
          <a:p>
            <a:r>
              <a:rPr lang="en-US" sz="2750" dirty="0">
                <a:solidFill>
                  <a:schemeClr val="tx1">
                    <a:lumMod val="50000"/>
                  </a:schemeClr>
                </a:solidFill>
              </a:rPr>
              <a:t>Azure migration vision </a:t>
            </a:r>
          </a:p>
        </p:txBody>
      </p:sp>
      <p:pic>
        <p:nvPicPr>
          <p:cNvPr id="46" name="Picture 45">
            <a:extLst>
              <a:ext uri="{FF2B5EF4-FFF2-40B4-BE49-F238E27FC236}">
                <a16:creationId xmlns:a16="http://schemas.microsoft.com/office/drawing/2014/main" id="{0739E772-5E60-476D-8A5B-8CC8946446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254211" y="3453897"/>
            <a:ext cx="1344268" cy="711347"/>
          </a:xfrm>
          <a:prstGeom prst="rect">
            <a:avLst/>
          </a:prstGeom>
        </p:spPr>
      </p:pic>
    </p:spTree>
    <p:extLst>
      <p:ext uri="{BB962C8B-B14F-4D97-AF65-F5344CB8AC3E}">
        <p14:creationId xmlns:p14="http://schemas.microsoft.com/office/powerpoint/2010/main" val="3753645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4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4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3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99" grpId="0"/>
      <p:bldP spid="100" grpId="0"/>
      <p:bldP spid="130" grpId="0"/>
      <p:bldP spid="131" grpId="0"/>
      <p:bldP spid="132" grpId="0"/>
      <p:bldP spid="133" grpId="0" animBg="1"/>
      <p:bldP spid="134" grpId="0"/>
      <p:bldP spid="137" grpId="0"/>
      <p:bldP spid="144" grpId="0"/>
      <p:bldP spid="145" grpId="0" animBg="1"/>
      <p:bldP spid="146" grpId="0" animBg="1"/>
      <p:bldP spid="69" grpId="0" animBg="1"/>
      <p:bldP spid="74" grpId="0" animBg="1"/>
      <p:bldP spid="75" grpId="0" animBg="1"/>
      <p:bldP spid="76" grpId="0" animBg="1"/>
      <p:bldP spid="77" grpId="0" animBg="1"/>
      <p:bldP spid="32" grpId="0" animBg="1"/>
      <p:bldP spid="33" grpId="0"/>
      <p:bldP spid="40" grpId="0" animBg="1"/>
      <p:bldP spid="44"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5787F3F-5F2B-4AF6-9254-0E8ECEC94815}"/>
              </a:ext>
            </a:extLst>
          </p:cNvPr>
          <p:cNvGrpSpPr/>
          <p:nvPr/>
        </p:nvGrpSpPr>
        <p:grpSpPr>
          <a:xfrm>
            <a:off x="1583527" y="1463118"/>
            <a:ext cx="9024945" cy="4712437"/>
            <a:chOff x="1479332" y="1714834"/>
            <a:chExt cx="9024945" cy="4712437"/>
          </a:xfrm>
        </p:grpSpPr>
        <p:grpSp>
          <p:nvGrpSpPr>
            <p:cNvPr id="4" name="Group 3">
              <a:extLst>
                <a:ext uri="{FF2B5EF4-FFF2-40B4-BE49-F238E27FC236}">
                  <a16:creationId xmlns:a16="http://schemas.microsoft.com/office/drawing/2014/main" id="{67328E58-31CD-4831-9D99-A537594E9721}"/>
                </a:ext>
              </a:extLst>
            </p:cNvPr>
            <p:cNvGrpSpPr/>
            <p:nvPr/>
          </p:nvGrpSpPr>
          <p:grpSpPr>
            <a:xfrm>
              <a:off x="1479332" y="1714834"/>
              <a:ext cx="2025710" cy="4679003"/>
              <a:chOff x="1238137" y="1714834"/>
              <a:chExt cx="2025710" cy="4679003"/>
            </a:xfrm>
          </p:grpSpPr>
          <p:sp>
            <p:nvSpPr>
              <p:cNvPr id="38" name="Rectangle 37">
                <a:extLst>
                  <a:ext uri="{FF2B5EF4-FFF2-40B4-BE49-F238E27FC236}">
                    <a16:creationId xmlns:a16="http://schemas.microsoft.com/office/drawing/2014/main" id="{0218B77A-7562-4E5C-A26F-25A46435112C}"/>
                  </a:ext>
                </a:extLst>
              </p:cNvPr>
              <p:cNvSpPr/>
              <p:nvPr/>
            </p:nvSpPr>
            <p:spPr bwMode="auto">
              <a:xfrm>
                <a:off x="1301313" y="36486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2917">
                          <a:srgbClr val="002050"/>
                        </a:gs>
                        <a:gs pos="30000">
                          <a:srgbClr val="002050"/>
                        </a:gs>
                      </a:gsLst>
                      <a:lin ang="5400000" scaled="0"/>
                    </a:gradFill>
                    <a:effectLst/>
                    <a:uLnTx/>
                    <a:uFillTx/>
                    <a:latin typeface="Segoe UI"/>
                    <a:ea typeface="+mn-ea"/>
                    <a:cs typeface="Segoe UI" panose="020B0502040204020203" pitchFamily="34" charset="0"/>
                  </a:rPr>
                  <a:t>Common </a:t>
                </a:r>
                <a:br>
                  <a:rPr kumimoji="0" lang="en-US" sz="1400" b="1" i="0" u="none" strike="noStrike" kern="1200" cap="none" spc="0" normalizeH="0" baseline="0" noProof="0">
                    <a:ln>
                      <a:noFill/>
                    </a:ln>
                    <a:gradFill>
                      <a:gsLst>
                        <a:gs pos="2917">
                          <a:srgbClr val="002050"/>
                        </a:gs>
                        <a:gs pos="30000">
                          <a:srgbClr val="002050"/>
                        </a:gs>
                      </a:gsLst>
                      <a:lin ang="5400000" scaled="0"/>
                    </a:gradFill>
                    <a:effectLst/>
                    <a:uLnTx/>
                    <a:uFillTx/>
                    <a:latin typeface="Segoe UI"/>
                    <a:ea typeface="+mn-ea"/>
                    <a:cs typeface="Segoe UI" panose="020B0502040204020203" pitchFamily="34" charset="0"/>
                  </a:rPr>
                </a:br>
                <a:r>
                  <a:rPr kumimoji="0" lang="en-US" sz="1400" b="1" i="0" u="none" strike="noStrike" kern="1200" cap="none" spc="0" normalizeH="0" baseline="0" noProof="0">
                    <a:ln>
                      <a:noFill/>
                    </a:ln>
                    <a:gradFill>
                      <a:gsLst>
                        <a:gs pos="2917">
                          <a:srgbClr val="002050"/>
                        </a:gs>
                        <a:gs pos="30000">
                          <a:srgbClr val="002050"/>
                        </a:gs>
                      </a:gsLst>
                      <a:lin ang="5400000" scaled="0"/>
                    </a:gradFill>
                    <a:effectLst/>
                    <a:uLnTx/>
                    <a:uFillTx/>
                    <a:latin typeface="Segoe UI"/>
                    <a:ea typeface="+mn-ea"/>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2144157" y="3392087"/>
                <a:ext cx="213672" cy="197171"/>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2144157" y="45373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1300783" y="1714834"/>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1238137" y="5868833"/>
                <a:ext cx="2025710"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grpSp>
            <p:nvGrpSpPr>
              <p:cNvPr id="54" name="Group 53">
                <a:extLst>
                  <a:ext uri="{FF2B5EF4-FFF2-40B4-BE49-F238E27FC236}">
                    <a16:creationId xmlns:a16="http://schemas.microsoft.com/office/drawing/2014/main" id="{94EBD3D5-2647-4E74-851A-909398070D0E}"/>
                  </a:ext>
                </a:extLst>
              </p:cNvPr>
              <p:cNvGrpSpPr/>
              <p:nvPr/>
            </p:nvGrpSpPr>
            <p:grpSpPr>
              <a:xfrm>
                <a:off x="2080105" y="2690725"/>
                <a:ext cx="341741" cy="504173"/>
                <a:chOff x="2989197" y="3102011"/>
                <a:chExt cx="172645" cy="245862"/>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02011"/>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39208"/>
                  <a:ext cx="172645" cy="108665"/>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2079071" y="4930599"/>
                <a:ext cx="343845" cy="455164"/>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D63B6E61-7F76-492C-86DB-E3938251A70D}"/>
                </a:ext>
              </a:extLst>
            </p:cNvPr>
            <p:cNvGrpSpPr/>
            <p:nvPr/>
          </p:nvGrpSpPr>
          <p:grpSpPr>
            <a:xfrm>
              <a:off x="3746582" y="1714834"/>
              <a:ext cx="2199130" cy="4712437"/>
              <a:chOff x="3120717" y="1714834"/>
              <a:chExt cx="2199130" cy="4712437"/>
            </a:xfrm>
          </p:grpSpPr>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4113445" y="33920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4113446" y="45373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3270072" y="1714834"/>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IaaS/PaaS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3120717" y="5902267"/>
                <a:ext cx="2199130"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3270602" y="36486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50"/>
                    </a:solidFill>
                    <a:effectLst/>
                    <a:uLnTx/>
                    <a:uFillTx/>
                    <a:latin typeface="Segoe UI"/>
                    <a:ea typeface="+mn-ea"/>
                    <a:cs typeface="Segoe UI" panose="020B0502040204020203" pitchFamily="34" charset="0"/>
                  </a:rPr>
                  <a:t>Unified cloud p</a:t>
                </a:r>
                <a:r>
                  <a:rPr kumimoji="0" lang="en-US" sz="1400" b="1" i="0" u="none" strike="noStrike" kern="1200" cap="none" spc="0" normalizeH="0" baseline="0" noProof="0" err="1">
                    <a:ln>
                      <a:noFill/>
                    </a:ln>
                    <a:solidFill>
                      <a:srgbClr val="002050"/>
                    </a:solidFill>
                    <a:effectLst/>
                    <a:uLnTx/>
                    <a:uFillTx/>
                    <a:latin typeface="Segoe UI"/>
                    <a:ea typeface="+mn-ea"/>
                    <a:cs typeface="Segoe UI" panose="020B0502040204020203" pitchFamily="34" charset="0"/>
                  </a:rPr>
                  <a:t>latform</a:t>
                </a:r>
                <a:endParaRPr kumimoji="0" lang="en-US" sz="1400" b="1" i="0" u="none" strike="noStrike" kern="1200" cap="none" spc="0" normalizeH="0" baseline="0" noProof="0">
                  <a:ln>
                    <a:noFill/>
                  </a:ln>
                  <a:solidFill>
                    <a:srgbClr val="002050"/>
                  </a:solidFill>
                  <a:effectLst/>
                  <a:uLnTx/>
                  <a:uFillTx/>
                  <a:latin typeface="Segoe UI"/>
                  <a:ea typeface="+mn-ea"/>
                  <a:cs typeface="Segoe UI" panose="020B0502040204020203" pitchFamily="34" charset="0"/>
                </a:endParaRPr>
              </a:p>
            </p:txBody>
          </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3899039" y="27482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grpSp>
            <p:nvGrpSpPr>
              <p:cNvPr id="97" name="Group 96">
                <a:extLst>
                  <a:ext uri="{FF2B5EF4-FFF2-40B4-BE49-F238E27FC236}">
                    <a16:creationId xmlns:a16="http://schemas.microsoft.com/office/drawing/2014/main" id="{2B6D3D7D-D992-40FA-A290-67A0E6BCE78E}"/>
                  </a:ext>
                </a:extLst>
              </p:cNvPr>
              <p:cNvGrpSpPr/>
              <p:nvPr/>
            </p:nvGrpSpPr>
            <p:grpSpPr>
              <a:xfrm>
                <a:off x="3899039" y="49311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0996B285-3EF9-473D-AE91-E10D7DFEF2CD}"/>
                </a:ext>
              </a:extLst>
            </p:cNvPr>
            <p:cNvGrpSpPr/>
            <p:nvPr/>
          </p:nvGrpSpPr>
          <p:grpSpPr>
            <a:xfrm>
              <a:off x="5874683" y="1714834"/>
              <a:ext cx="2650846" cy="4639234"/>
              <a:chOff x="4864148" y="1714834"/>
              <a:chExt cx="2650846" cy="4639234"/>
            </a:xfrm>
          </p:grpSpPr>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6082734" y="33920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6082735" y="45373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5239361" y="1714834"/>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a:t>
                </a:r>
                <a:b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ata S</a:t>
                </a:r>
                <a:r>
                  <a:rPr kumimoji="0" lang="en-US" sz="1568" b="0" i="0" u="none" strike="noStrike" kern="1200" cap="none" spc="0" normalizeH="0" baseline="0" noProof="0" err="1">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ervices</a:t>
                </a:r>
                <a:endPar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4864148" y="5829064"/>
                <a:ext cx="2650846"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SQL Server, support for MySQL,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PostgreSQL, NoSQL</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5239891" y="36486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50"/>
                    </a:solidFill>
                    <a:effectLst/>
                    <a:uLnTx/>
                    <a:uFillTx/>
                    <a:latin typeface="Segoe UI"/>
                    <a:ea typeface="+mn-ea"/>
                    <a:cs typeface="Segoe UI" panose="020B0502040204020203" pitchFamily="34" charset="0"/>
                  </a:rPr>
                  <a:t>Data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50"/>
                    </a:solidFill>
                    <a:effectLst/>
                    <a:uLnTx/>
                    <a:uFillTx/>
                    <a:latin typeface="Segoe UI"/>
                    <a:ea typeface="+mn-ea"/>
                    <a:cs typeface="Segoe UI" panose="020B0502040204020203" pitchFamily="34" charset="0"/>
                  </a:rPr>
                  <a:t>platform</a:t>
                </a: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5949291" y="27202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Cylinder 167">
                <a:extLst>
                  <a:ext uri="{FF2B5EF4-FFF2-40B4-BE49-F238E27FC236}">
                    <a16:creationId xmlns:a16="http://schemas.microsoft.com/office/drawing/2014/main" id="{3E6455FB-B3F1-4D72-B4E8-7F0CCF4FE79F}"/>
                  </a:ext>
                </a:extLst>
              </p:cNvPr>
              <p:cNvSpPr/>
              <p:nvPr/>
            </p:nvSpPr>
            <p:spPr bwMode="auto">
              <a:xfrm>
                <a:off x="5949291" y="49205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253A5D17-3CC0-4F4A-9927-FA6A30B835C7}"/>
                </a:ext>
              </a:extLst>
            </p:cNvPr>
            <p:cNvGrpSpPr/>
            <p:nvPr/>
          </p:nvGrpSpPr>
          <p:grpSpPr>
            <a:xfrm>
              <a:off x="8603325" y="1714834"/>
              <a:ext cx="1900952" cy="4639234"/>
              <a:chOff x="7207588" y="1714834"/>
              <a:chExt cx="1900952" cy="4639234"/>
            </a:xfrm>
          </p:grpSpPr>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8051494" y="3392088"/>
                <a:ext cx="213670"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8051495" y="4537382"/>
                <a:ext cx="213668"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7208119" y="1714834"/>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a:t>
                </a:r>
                <a:b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7207588" y="5829064"/>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On-premises</a:t>
                </a:r>
                <a:b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gradFill>
                      <a:gsLst>
                        <a:gs pos="7400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frastructure</a:t>
                </a:r>
              </a:p>
            </p:txBody>
          </p:sp>
          <p:grpSp>
            <p:nvGrpSpPr>
              <p:cNvPr id="8" name="Group 7">
                <a:extLst>
                  <a:ext uri="{FF2B5EF4-FFF2-40B4-BE49-F238E27FC236}">
                    <a16:creationId xmlns:a16="http://schemas.microsoft.com/office/drawing/2014/main" id="{C4910856-0B90-4A74-9733-5F8381CD868F}"/>
                  </a:ext>
                </a:extLst>
              </p:cNvPr>
              <p:cNvGrpSpPr/>
              <p:nvPr/>
            </p:nvGrpSpPr>
            <p:grpSpPr>
              <a:xfrm>
                <a:off x="7208649" y="2270541"/>
                <a:ext cx="1899360" cy="2189516"/>
                <a:chOff x="7208649" y="2270541"/>
                <a:chExt cx="1899360" cy="2189516"/>
              </a:xfrm>
            </p:grpSpPr>
            <p:sp>
              <p:nvSpPr>
                <p:cNvPr id="87" name="Rectangle 86">
                  <a:extLst>
                    <a:ext uri="{FF2B5EF4-FFF2-40B4-BE49-F238E27FC236}">
                      <a16:creationId xmlns:a16="http://schemas.microsoft.com/office/drawing/2014/main" id="{E77A0E0D-C4C7-41CA-A9E8-1FD859F6D5E2}"/>
                    </a:ext>
                  </a:extLst>
                </p:cNvPr>
                <p:cNvSpPr/>
                <p:nvPr/>
              </p:nvSpPr>
              <p:spPr bwMode="auto">
                <a:xfrm>
                  <a:off x="7208649" y="36486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50"/>
                      </a:solidFill>
                      <a:effectLst/>
                      <a:uLnTx/>
                      <a:uFillTx/>
                      <a:latin typeface="Segoe UI"/>
                      <a:ea typeface="+mn-ea"/>
                      <a:cs typeface="Segoe UI" panose="020B0502040204020203" pitchFamily="34" charset="0"/>
                    </a:rPr>
                    <a:t>Security and management</a:t>
                  </a:r>
                </a:p>
              </p:txBody>
            </p:sp>
            <p:grpSp>
              <p:nvGrpSpPr>
                <p:cNvPr id="55" name="Group 54">
                  <a:extLst>
                    <a:ext uri="{FF2B5EF4-FFF2-40B4-BE49-F238E27FC236}">
                      <a16:creationId xmlns:a16="http://schemas.microsoft.com/office/drawing/2014/main" id="{6CFB70BF-4B5C-48E3-B5F1-0DDE8D21A1F2}"/>
                    </a:ext>
                  </a:extLst>
                </p:cNvPr>
                <p:cNvGrpSpPr/>
                <p:nvPr/>
              </p:nvGrpSpPr>
              <p:grpSpPr>
                <a:xfrm>
                  <a:off x="7884883" y="2270541"/>
                  <a:ext cx="1183516" cy="930007"/>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75787B"/>
                      </a:solidFill>
                      <a:effectLst/>
                      <a:uLnTx/>
                      <a:uFillTx/>
                      <a:latin typeface="Segoe UI Light"/>
                      <a:ea typeface="+mn-ea"/>
                      <a:cs typeface="+mn-cs"/>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grpSp>
          <p:grpSp>
            <p:nvGrpSpPr>
              <p:cNvPr id="2" name="Group 1"/>
              <p:cNvGrpSpPr/>
              <p:nvPr/>
            </p:nvGrpSpPr>
            <p:grpSpPr>
              <a:xfrm>
                <a:off x="7789572" y="48997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sp>
        <p:nvSpPr>
          <p:cNvPr id="12" name="Title 11">
            <a:extLst>
              <a:ext uri="{FF2B5EF4-FFF2-40B4-BE49-F238E27FC236}">
                <a16:creationId xmlns:a16="http://schemas.microsoft.com/office/drawing/2014/main" id="{5A181E50-187B-4CC0-8CF0-F88799ED1395}"/>
              </a:ext>
            </a:extLst>
          </p:cNvPr>
          <p:cNvSpPr>
            <a:spLocks noGrp="1"/>
          </p:cNvSpPr>
          <p:nvPr>
            <p:ph type="title"/>
          </p:nvPr>
        </p:nvSpPr>
        <p:spPr>
          <a:xfrm>
            <a:off x="588263" y="457200"/>
            <a:ext cx="11018520" cy="423193"/>
          </a:xfrm>
        </p:spPr>
        <p:txBody>
          <a:bodyPr lIns="182880" rIns="182880"/>
          <a:lstStyle/>
          <a:p>
            <a:r>
              <a:rPr lang="en-US" sz="2750" dirty="0">
                <a:solidFill>
                  <a:schemeClr val="tx1">
                    <a:lumMod val="50000"/>
                  </a:schemeClr>
                </a:solidFill>
              </a:rPr>
              <a:t>Azure is the only consistent hybrid cloud</a:t>
            </a:r>
          </a:p>
        </p:txBody>
      </p:sp>
      <p:sp>
        <p:nvSpPr>
          <p:cNvPr id="7" name="Rectangle 6">
            <a:extLst>
              <a:ext uri="{FF2B5EF4-FFF2-40B4-BE49-F238E27FC236}">
                <a16:creationId xmlns:a16="http://schemas.microsoft.com/office/drawing/2014/main" id="{4C35C5EB-77EB-4CF0-B592-1D5B01F151F3}"/>
              </a:ext>
            </a:extLst>
          </p:cNvPr>
          <p:cNvSpPr/>
          <p:nvPr/>
        </p:nvSpPr>
        <p:spPr bwMode="auto">
          <a:xfrm>
            <a:off x="1371599" y="1109609"/>
            <a:ext cx="9827231" cy="5352836"/>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95048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A480-DE30-4640-86CC-A2BAFD76FF65}"/>
              </a:ext>
            </a:extLst>
          </p:cNvPr>
          <p:cNvSpPr>
            <a:spLocks noGrp="1"/>
          </p:cNvSpPr>
          <p:nvPr>
            <p:ph type="title"/>
          </p:nvPr>
        </p:nvSpPr>
        <p:spPr>
          <a:xfrm>
            <a:off x="588263" y="457200"/>
            <a:ext cx="11018520" cy="423193"/>
          </a:xfrm>
        </p:spPr>
        <p:txBody>
          <a:bodyPr/>
          <a:lstStyle/>
          <a:p>
            <a:r>
              <a:rPr lang="en-US" sz="2750" dirty="0">
                <a:solidFill>
                  <a:schemeClr val="tx1">
                    <a:lumMod val="50000"/>
                  </a:schemeClr>
                </a:solidFill>
              </a:rPr>
              <a:t>Get started at no cost: Built-in tools at each stage</a:t>
            </a:r>
          </a:p>
        </p:txBody>
      </p:sp>
      <p:grpSp>
        <p:nvGrpSpPr>
          <p:cNvPr id="22" name="Group 21">
            <a:extLst>
              <a:ext uri="{FF2B5EF4-FFF2-40B4-BE49-F238E27FC236}">
                <a16:creationId xmlns:a16="http://schemas.microsoft.com/office/drawing/2014/main" id="{B4809D39-2E34-463B-A9EB-B389E9F6F0C2}"/>
              </a:ext>
            </a:extLst>
          </p:cNvPr>
          <p:cNvGrpSpPr/>
          <p:nvPr/>
        </p:nvGrpSpPr>
        <p:grpSpPr>
          <a:xfrm>
            <a:off x="3920721" y="2259945"/>
            <a:ext cx="3564339" cy="2781955"/>
            <a:chOff x="4313830" y="1840845"/>
            <a:chExt cx="3564339" cy="2781955"/>
          </a:xfrm>
        </p:grpSpPr>
        <p:sp>
          <p:nvSpPr>
            <p:cNvPr id="10" name="Rectangle 9">
              <a:extLst>
                <a:ext uri="{FF2B5EF4-FFF2-40B4-BE49-F238E27FC236}">
                  <a16:creationId xmlns:a16="http://schemas.microsoft.com/office/drawing/2014/main" id="{C7EF2097-8230-42E8-AD94-B91492F70D20}"/>
                </a:ext>
              </a:extLst>
            </p:cNvPr>
            <p:cNvSpPr/>
            <p:nvPr/>
          </p:nvSpPr>
          <p:spPr bwMode="auto">
            <a:xfrm>
              <a:off x="4313830" y="3793884"/>
              <a:ext cx="3564339" cy="828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rPr>
                <a:t>Azure Site Recovery</a:t>
              </a:r>
              <a:endParaRPr kumimoji="0" lang="en-US" sz="1600" b="1" i="0" u="none" strike="noStrike" kern="120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endParaRPr>
            </a:p>
          </p:txBody>
        </p:sp>
        <p:sp>
          <p:nvSpPr>
            <p:cNvPr id="16" name="Rectangle 15">
              <a:extLst>
                <a:ext uri="{FF2B5EF4-FFF2-40B4-BE49-F238E27FC236}">
                  <a16:creationId xmlns:a16="http://schemas.microsoft.com/office/drawing/2014/main" id="{C173728C-7D75-46CB-B86B-185583B8483A}"/>
                </a:ext>
              </a:extLst>
            </p:cNvPr>
            <p:cNvSpPr/>
            <p:nvPr/>
          </p:nvSpPr>
          <p:spPr bwMode="auto">
            <a:xfrm>
              <a:off x="4313830" y="1840845"/>
              <a:ext cx="3564339" cy="828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2400"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rPr>
                <a:t>During migration</a:t>
              </a:r>
            </a:p>
          </p:txBody>
        </p:sp>
      </p:grpSp>
      <p:grpSp>
        <p:nvGrpSpPr>
          <p:cNvPr id="21" name="Group 20">
            <a:extLst>
              <a:ext uri="{FF2B5EF4-FFF2-40B4-BE49-F238E27FC236}">
                <a16:creationId xmlns:a16="http://schemas.microsoft.com/office/drawing/2014/main" id="{05E86BFF-9D77-4228-BC84-FF7FC140299F}"/>
              </a:ext>
            </a:extLst>
          </p:cNvPr>
          <p:cNvGrpSpPr/>
          <p:nvPr/>
        </p:nvGrpSpPr>
        <p:grpSpPr>
          <a:xfrm>
            <a:off x="-401653" y="2259945"/>
            <a:ext cx="4811283" cy="2773409"/>
            <a:chOff x="-8544" y="1840845"/>
            <a:chExt cx="4811283" cy="2773409"/>
          </a:xfrm>
        </p:grpSpPr>
        <p:sp>
          <p:nvSpPr>
            <p:cNvPr id="9" name="Rectangle 8">
              <a:extLst>
                <a:ext uri="{FF2B5EF4-FFF2-40B4-BE49-F238E27FC236}">
                  <a16:creationId xmlns:a16="http://schemas.microsoft.com/office/drawing/2014/main" id="{5CFB550B-50B9-4755-9D76-F4094C4B6298}"/>
                </a:ext>
              </a:extLst>
            </p:cNvPr>
            <p:cNvSpPr/>
            <p:nvPr/>
          </p:nvSpPr>
          <p:spPr bwMode="auto">
            <a:xfrm>
              <a:off x="-8544" y="3785338"/>
              <a:ext cx="4811283" cy="828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Azure Migrate</a:t>
              </a:r>
            </a:p>
          </p:txBody>
        </p:sp>
        <p:sp>
          <p:nvSpPr>
            <p:cNvPr id="15" name="Rectangle 14">
              <a:extLst>
                <a:ext uri="{FF2B5EF4-FFF2-40B4-BE49-F238E27FC236}">
                  <a16:creationId xmlns:a16="http://schemas.microsoft.com/office/drawing/2014/main" id="{B8C960D3-6104-4DE7-879C-C197B1492B0D}"/>
                </a:ext>
              </a:extLst>
            </p:cNvPr>
            <p:cNvSpPr/>
            <p:nvPr/>
          </p:nvSpPr>
          <p:spPr bwMode="auto">
            <a:xfrm>
              <a:off x="703376" y="1840845"/>
              <a:ext cx="3564339" cy="828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2400" b="0" i="0" u="none" strike="noStrike" kern="1200" cap="none" spc="0" normalizeH="0" baseline="0" noProof="0">
                  <a:ln>
                    <a:noFill/>
                  </a:ln>
                  <a:solidFill>
                    <a:srgbClr val="353535"/>
                  </a:solidFill>
                  <a:effectLst/>
                  <a:uLnTx/>
                  <a:uFillTx/>
                  <a:latin typeface="Segoe UI Semilight"/>
                  <a:ea typeface="Segoe UI" pitchFamily="34" charset="0"/>
                  <a:cs typeface="Segoe UI Semilight" panose="020B0402040204020203" pitchFamily="34" charset="0"/>
                </a:rPr>
                <a:t>Pre-migration</a:t>
              </a:r>
            </a:p>
          </p:txBody>
        </p:sp>
      </p:grpSp>
      <p:grpSp>
        <p:nvGrpSpPr>
          <p:cNvPr id="23" name="Group 22">
            <a:extLst>
              <a:ext uri="{FF2B5EF4-FFF2-40B4-BE49-F238E27FC236}">
                <a16:creationId xmlns:a16="http://schemas.microsoft.com/office/drawing/2014/main" id="{9E9ADCB5-11EE-45C7-87BB-D851BFB755FA}"/>
              </a:ext>
            </a:extLst>
          </p:cNvPr>
          <p:cNvGrpSpPr/>
          <p:nvPr/>
        </p:nvGrpSpPr>
        <p:grpSpPr>
          <a:xfrm>
            <a:off x="7531176" y="2259945"/>
            <a:ext cx="4370264" cy="2781955"/>
            <a:chOff x="7924285" y="1840845"/>
            <a:chExt cx="4370264" cy="2781955"/>
          </a:xfrm>
        </p:grpSpPr>
        <p:sp>
          <p:nvSpPr>
            <p:cNvPr id="11" name="Rectangle 10">
              <a:extLst>
                <a:ext uri="{FF2B5EF4-FFF2-40B4-BE49-F238E27FC236}">
                  <a16:creationId xmlns:a16="http://schemas.microsoft.com/office/drawing/2014/main" id="{ADB3043A-6F6C-46B9-B506-5D383EE5A214}"/>
                </a:ext>
              </a:extLst>
            </p:cNvPr>
            <p:cNvSpPr/>
            <p:nvPr/>
          </p:nvSpPr>
          <p:spPr bwMode="auto">
            <a:xfrm>
              <a:off x="7924285" y="3793884"/>
              <a:ext cx="4370264" cy="828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rPr>
                <a:t>Azure cost management </a:t>
              </a:r>
              <a:endParaRPr kumimoji="0" lang="en-US" sz="1600" b="1" i="0" u="none" strike="noStrike" kern="120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endParaRPr>
            </a:p>
          </p:txBody>
        </p:sp>
        <p:sp>
          <p:nvSpPr>
            <p:cNvPr id="17" name="Rectangle 16">
              <a:extLst>
                <a:ext uri="{FF2B5EF4-FFF2-40B4-BE49-F238E27FC236}">
                  <a16:creationId xmlns:a16="http://schemas.microsoft.com/office/drawing/2014/main" id="{97DC82CE-BEA0-4C62-9D9A-26FD4BE135ED}"/>
                </a:ext>
              </a:extLst>
            </p:cNvPr>
            <p:cNvSpPr/>
            <p:nvPr/>
          </p:nvSpPr>
          <p:spPr bwMode="auto">
            <a:xfrm>
              <a:off x="8327247" y="1840845"/>
              <a:ext cx="3564339" cy="828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2400" b="0" i="0" u="none" strike="noStrike" kern="1200" cap="none" spc="0" normalizeH="0" baseline="0" noProof="0">
                  <a:ln>
                    <a:noFill/>
                  </a:ln>
                  <a:solidFill>
                    <a:srgbClr val="353535"/>
                  </a:solidFill>
                  <a:effectLst/>
                  <a:uLnTx/>
                  <a:uFillTx/>
                  <a:latin typeface="Segoe UI Semilight"/>
                  <a:ea typeface="+mn-ea"/>
                  <a:cs typeface="Segoe UI Semilight" panose="020B0402040204020203" pitchFamily="34" charset="0"/>
                </a:rPr>
                <a:t>Post-migration</a:t>
              </a:r>
            </a:p>
          </p:txBody>
        </p:sp>
        <p:sp>
          <p:nvSpPr>
            <p:cNvPr id="20" name="money_2" title="Icon of a dollar sign with an arrow around it pointing clockwise">
              <a:extLst>
                <a:ext uri="{FF2B5EF4-FFF2-40B4-BE49-F238E27FC236}">
                  <a16:creationId xmlns:a16="http://schemas.microsoft.com/office/drawing/2014/main" id="{9AD95196-81E7-45A1-89D4-94F4B5474989}"/>
                </a:ext>
              </a:extLst>
            </p:cNvPr>
            <p:cNvSpPr>
              <a:spLocks noChangeAspect="1" noEditPoints="1"/>
            </p:cNvSpPr>
            <p:nvPr/>
          </p:nvSpPr>
          <p:spPr bwMode="auto">
            <a:xfrm>
              <a:off x="9664831" y="2669761"/>
              <a:ext cx="818192" cy="86268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5" name="magnify" title="Icon of a magnifying glass">
            <a:extLst>
              <a:ext uri="{FF2B5EF4-FFF2-40B4-BE49-F238E27FC236}">
                <a16:creationId xmlns:a16="http://schemas.microsoft.com/office/drawing/2014/main" id="{4573A47C-414B-4946-B3F7-A1B3AFEE41D6}"/>
              </a:ext>
            </a:extLst>
          </p:cNvPr>
          <p:cNvSpPr>
            <a:spLocks noChangeAspect="1" noEditPoints="1"/>
          </p:cNvSpPr>
          <p:nvPr/>
        </p:nvSpPr>
        <p:spPr bwMode="auto">
          <a:xfrm flipH="1">
            <a:off x="1783870" y="3242755"/>
            <a:ext cx="600100" cy="57721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19" name="DevUpdate_ECC5">
            <a:extLst>
              <a:ext uri="{FF2B5EF4-FFF2-40B4-BE49-F238E27FC236}">
                <a16:creationId xmlns:a16="http://schemas.microsoft.com/office/drawing/2014/main" id="{2CB4E587-883A-44D0-A38F-21129E10C3AE}"/>
              </a:ext>
            </a:extLst>
          </p:cNvPr>
          <p:cNvSpPr>
            <a:spLocks noChangeAspect="1" noEditPoints="1"/>
          </p:cNvSpPr>
          <p:nvPr/>
        </p:nvSpPr>
        <p:spPr bwMode="auto">
          <a:xfrm flipH="1">
            <a:off x="5336588" y="3153464"/>
            <a:ext cx="732603" cy="73347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Tree>
    <p:extLst>
      <p:ext uri="{BB962C8B-B14F-4D97-AF65-F5344CB8AC3E}">
        <p14:creationId xmlns:p14="http://schemas.microsoft.com/office/powerpoint/2010/main" val="158475374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2AF011-6C1A-420E-9DE6-E41D651335BE}"/>
              </a:ext>
            </a:extLst>
          </p:cNvPr>
          <p:cNvSpPr/>
          <p:nvPr/>
        </p:nvSpPr>
        <p:spPr bwMode="auto">
          <a:xfrm>
            <a:off x="485973" y="4016819"/>
            <a:ext cx="11317144" cy="2394398"/>
          </a:xfrm>
          <a:prstGeom prst="rect">
            <a:avLst/>
          </a:prstGeom>
          <a:solidFill>
            <a:schemeClr val="bg1"/>
          </a:solidFill>
          <a:ln>
            <a:solidFill>
              <a:schemeClr val="accent6"/>
            </a:solidFill>
            <a:headEnd type="none" w="med" len="med"/>
            <a:tailEnd type="none" w="med" len="med"/>
          </a:ln>
          <a:effectLst>
            <a:outerShdw blurRad="76200" dist="508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289767" y="446784"/>
            <a:ext cx="11018520" cy="423193"/>
          </a:xfrm>
        </p:spPr>
        <p:txBody>
          <a:bodyPr/>
          <a:lstStyle/>
          <a:p>
            <a:r>
              <a:rPr lang="en-US" sz="2750" dirty="0"/>
              <a:t>Choice of tools for every stage and every requirement</a:t>
            </a:r>
          </a:p>
        </p:txBody>
      </p:sp>
      <p:grpSp>
        <p:nvGrpSpPr>
          <p:cNvPr id="4" name="Group 3">
            <a:extLst>
              <a:ext uri="{FF2B5EF4-FFF2-40B4-BE49-F238E27FC236}">
                <a16:creationId xmlns:a16="http://schemas.microsoft.com/office/drawing/2014/main" id="{B832D8AB-2901-4ED1-ABFD-BED932527F3A}"/>
              </a:ext>
            </a:extLst>
          </p:cNvPr>
          <p:cNvGrpSpPr/>
          <p:nvPr/>
        </p:nvGrpSpPr>
        <p:grpSpPr>
          <a:xfrm>
            <a:off x="903068" y="4214597"/>
            <a:ext cx="10750944" cy="2114871"/>
            <a:chOff x="879340" y="3525654"/>
            <a:chExt cx="10750944" cy="2114871"/>
          </a:xfrm>
        </p:grpSpPr>
        <p:pic>
          <p:nvPicPr>
            <p:cNvPr id="69" name="Picture 68" descr="Image result for Attunity png">
              <a:extLst>
                <a:ext uri="{FF2B5EF4-FFF2-40B4-BE49-F238E27FC236}">
                  <a16:creationId xmlns:a16="http://schemas.microsoft.com/office/drawing/2014/main" id="{999F12AF-EE61-4ECA-B810-103F1C9212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249" r="16819"/>
            <a:stretch/>
          </p:blipFill>
          <p:spPr bwMode="auto">
            <a:xfrm>
              <a:off x="2522285" y="5071818"/>
              <a:ext cx="1275471" cy="514034"/>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FC672CE4-B1BF-4C75-8B77-3F26FC1019AA}"/>
                </a:ext>
              </a:extLst>
            </p:cNvPr>
            <p:cNvGrpSpPr/>
            <p:nvPr/>
          </p:nvGrpSpPr>
          <p:grpSpPr>
            <a:xfrm>
              <a:off x="4318697" y="5237611"/>
              <a:ext cx="995994" cy="200554"/>
              <a:chOff x="1340008" y="-118325"/>
              <a:chExt cx="6669719" cy="1343025"/>
            </a:xfrm>
          </p:grpSpPr>
          <p:pic>
            <p:nvPicPr>
              <p:cNvPr id="75" name="Graphic 49">
                <a:extLst>
                  <a:ext uri="{FF2B5EF4-FFF2-40B4-BE49-F238E27FC236}">
                    <a16:creationId xmlns:a16="http://schemas.microsoft.com/office/drawing/2014/main" id="{820CFCBA-4E07-471C-B005-E19BA4F372E8}"/>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79958"/>
              <a:stretch/>
            </p:blipFill>
            <p:spPr>
              <a:xfrm>
                <a:off x="3027363" y="-118325"/>
                <a:ext cx="1647504" cy="1343025"/>
              </a:xfrm>
              <a:prstGeom prst="rect">
                <a:avLst/>
              </a:prstGeom>
            </p:spPr>
          </p:pic>
          <p:pic>
            <p:nvPicPr>
              <p:cNvPr id="76" name="Graphic 51">
                <a:extLst>
                  <a:ext uri="{FF2B5EF4-FFF2-40B4-BE49-F238E27FC236}">
                    <a16:creationId xmlns:a16="http://schemas.microsoft.com/office/drawing/2014/main" id="{6B3DA2C4-E6E4-41B2-92D5-7E3FC240407A}"/>
                  </a:ext>
                </a:extLst>
              </p:cNvPr>
              <p:cNvPicPr>
                <a:picLocks noChangeAspect="1"/>
              </p:cNvPicPr>
              <p:nvPr/>
            </p:nvPicPr>
            <p:blipFill rotWithShape="1">
              <a:blip r:embed="rId4">
                <a:lum bright="-100000"/>
                <a:extLst>
                  <a:ext uri="{96DAC541-7B7A-43D3-8B79-37D633B846F1}">
                    <asvg:svgBlip xmlns:asvg="http://schemas.microsoft.com/office/drawing/2016/SVG/main" r:embed="rId5"/>
                  </a:ext>
                </a:extLst>
              </a:blip>
              <a:srcRect l="18860"/>
              <a:stretch/>
            </p:blipFill>
            <p:spPr>
              <a:xfrm>
                <a:off x="1340008" y="-118325"/>
                <a:ext cx="6669719" cy="1343025"/>
              </a:xfrm>
              <a:prstGeom prst="rect">
                <a:avLst/>
              </a:prstGeom>
            </p:spPr>
          </p:pic>
        </p:grpSp>
        <p:pic>
          <p:nvPicPr>
            <p:cNvPr id="71" name="Picture 70" descr="Image result for Morphis png logo">
              <a:extLst>
                <a:ext uri="{FF2B5EF4-FFF2-40B4-BE49-F238E27FC236}">
                  <a16:creationId xmlns:a16="http://schemas.microsoft.com/office/drawing/2014/main" id="{C19FBFAD-AEEF-48A7-A418-0561C7BE3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7330" y="5071818"/>
              <a:ext cx="704460" cy="40210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descr="Image result for Informatica logo png">
              <a:extLst>
                <a:ext uri="{FF2B5EF4-FFF2-40B4-BE49-F238E27FC236}">
                  <a16:creationId xmlns:a16="http://schemas.microsoft.com/office/drawing/2014/main" id="{EB7EE7CC-F6D3-43E8-A735-4AA17F8707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58807" y="5162785"/>
              <a:ext cx="1312475" cy="4777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CB89584E-030C-46B1-883F-0701D57F4D2D}"/>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126496" y="5036153"/>
              <a:ext cx="622874" cy="395370"/>
            </a:xfrm>
            <a:prstGeom prst="rect">
              <a:avLst/>
            </a:prstGeom>
          </p:spPr>
        </p:pic>
        <p:pic>
          <p:nvPicPr>
            <p:cNvPr id="74" name="Picture 12" descr="Image result for QuerySurge logos">
              <a:extLst>
                <a:ext uri="{FF2B5EF4-FFF2-40B4-BE49-F238E27FC236}">
                  <a16:creationId xmlns:a16="http://schemas.microsoft.com/office/drawing/2014/main" id="{F4AA2D34-EDC1-41A1-8F28-26B751269D8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268" t="11909" r="10046" b="12759"/>
            <a:stretch/>
          </p:blipFill>
          <p:spPr bwMode="auto">
            <a:xfrm>
              <a:off x="10518402" y="5190753"/>
              <a:ext cx="1111882" cy="30043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descr="A picture containing thing, object&#10;&#10;Description generated with high confidence">
              <a:extLst>
                <a:ext uri="{FF2B5EF4-FFF2-40B4-BE49-F238E27FC236}">
                  <a16:creationId xmlns:a16="http://schemas.microsoft.com/office/drawing/2014/main" id="{8C21F1BE-CD7C-4619-8825-AEBFABA034B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35971" y="4745087"/>
              <a:ext cx="1342124" cy="165029"/>
            </a:xfrm>
            <a:prstGeom prst="rect">
              <a:avLst/>
            </a:prstGeom>
          </p:spPr>
        </p:pic>
        <p:pic>
          <p:nvPicPr>
            <p:cNvPr id="64" name="Picture 63">
              <a:extLst>
                <a:ext uri="{FF2B5EF4-FFF2-40B4-BE49-F238E27FC236}">
                  <a16:creationId xmlns:a16="http://schemas.microsoft.com/office/drawing/2014/main" id="{18637F2F-C0CA-4480-A8A3-5FEB2A4D6ED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721692" y="4664479"/>
              <a:ext cx="799879" cy="295339"/>
            </a:xfrm>
            <a:prstGeom prst="rect">
              <a:avLst/>
            </a:prstGeom>
          </p:spPr>
        </p:pic>
        <p:pic>
          <p:nvPicPr>
            <p:cNvPr id="65" name="Picture 2" descr="Image result for cloudamize logo">
              <a:extLst>
                <a:ext uri="{FF2B5EF4-FFF2-40B4-BE49-F238E27FC236}">
                  <a16:creationId xmlns:a16="http://schemas.microsoft.com/office/drawing/2014/main" id="{168A58E5-80E9-426D-855F-86D5F5C5198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780485" y="4161087"/>
              <a:ext cx="1484670" cy="1846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Image result for turbonomic logo">
              <a:extLst>
                <a:ext uri="{FF2B5EF4-FFF2-40B4-BE49-F238E27FC236}">
                  <a16:creationId xmlns:a16="http://schemas.microsoft.com/office/drawing/2014/main" id="{892DE607-B566-4C78-BB70-658AF2F823B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892393" y="4646477"/>
              <a:ext cx="1065526" cy="3308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result for Ispirer logos">
              <a:extLst>
                <a:ext uri="{FF2B5EF4-FFF2-40B4-BE49-F238E27FC236}">
                  <a16:creationId xmlns:a16="http://schemas.microsoft.com/office/drawing/2014/main" id="{4DCAE8CA-92FA-4D36-90DB-E6701D752EB7}"/>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t="13369" b="12055"/>
            <a:stretch/>
          </p:blipFill>
          <p:spPr bwMode="auto">
            <a:xfrm>
              <a:off x="7377580" y="5213279"/>
              <a:ext cx="1001729" cy="32016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Image result for Intigua logos">
              <a:extLst>
                <a:ext uri="{FF2B5EF4-FFF2-40B4-BE49-F238E27FC236}">
                  <a16:creationId xmlns:a16="http://schemas.microsoft.com/office/drawing/2014/main" id="{FABA6D60-08FE-45AC-99ED-2C8727EEFBDC}"/>
                </a:ext>
              </a:extLst>
            </p:cNvPr>
            <p:cNvPicPr>
              <a:picLocks noChangeAspect="1" noChangeArrowheads="1"/>
            </p:cNvPicPr>
            <p:nvPr/>
          </p:nvPicPr>
          <p:blipFill rotWithShape="1">
            <a:blip r:embed="rId15">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6929" t="22900" r="6597" b="26895"/>
            <a:stretch/>
          </p:blipFill>
          <p:spPr bwMode="auto">
            <a:xfrm>
              <a:off x="10213860" y="4565952"/>
              <a:ext cx="991481" cy="35256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picture containing object&#10;&#10;Description generated with high confidence">
              <a:extLst>
                <a:ext uri="{FF2B5EF4-FFF2-40B4-BE49-F238E27FC236}">
                  <a16:creationId xmlns:a16="http://schemas.microsoft.com/office/drawing/2014/main" id="{FF0ED615-31C7-41FB-B26D-4AB278A2F380}"/>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045308" y="4115356"/>
              <a:ext cx="1168533" cy="294471"/>
            </a:xfrm>
            <a:prstGeom prst="rect">
              <a:avLst/>
            </a:prstGeom>
          </p:spPr>
        </p:pic>
        <p:pic>
          <p:nvPicPr>
            <p:cNvPr id="59" name="Graphic 58">
              <a:extLst>
                <a:ext uri="{FF2B5EF4-FFF2-40B4-BE49-F238E27FC236}">
                  <a16:creationId xmlns:a16="http://schemas.microsoft.com/office/drawing/2014/main" id="{1B62F56F-58BF-4C14-9D95-DCF64FA20D5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79340" y="4147893"/>
              <a:ext cx="1065526" cy="192810"/>
            </a:xfrm>
            <a:prstGeom prst="rect">
              <a:avLst/>
            </a:prstGeom>
          </p:spPr>
        </p:pic>
        <p:pic>
          <p:nvPicPr>
            <p:cNvPr id="60" name="Picture 2" descr="Image result for stratozono logo">
              <a:extLst>
                <a:ext uri="{FF2B5EF4-FFF2-40B4-BE49-F238E27FC236}">
                  <a16:creationId xmlns:a16="http://schemas.microsoft.com/office/drawing/2014/main" id="{2D072B27-F71E-48D5-A878-B97FEEDE9126}"/>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35413" t="61548"/>
            <a:stretch/>
          </p:blipFill>
          <p:spPr bwMode="auto">
            <a:xfrm>
              <a:off x="896112" y="4724036"/>
              <a:ext cx="1218229" cy="16499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6" descr="Image result for BitTitan logos">
              <a:extLst>
                <a:ext uri="{FF2B5EF4-FFF2-40B4-BE49-F238E27FC236}">
                  <a16:creationId xmlns:a16="http://schemas.microsoft.com/office/drawing/2014/main" id="{4ECFBBB8-E322-4E75-82A7-81C9FF48CB2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902287" y="4079252"/>
              <a:ext cx="1228828" cy="320167"/>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E9426420-2BBA-4348-8932-D818918EE047}"/>
                </a:ext>
              </a:extLst>
            </p:cNvPr>
            <p:cNvSpPr txBox="1"/>
            <p:nvPr/>
          </p:nvSpPr>
          <p:spPr>
            <a:xfrm>
              <a:off x="1643085" y="3525654"/>
              <a:ext cx="9035584" cy="301223"/>
            </a:xfrm>
            <a:prstGeom prst="rect">
              <a:avLst/>
            </a:prstGeom>
            <a:noFill/>
            <a:ln w="15875" cap="sq">
              <a:noFill/>
              <a:miter lim="800000"/>
            </a:ln>
          </p:spPr>
          <p:txBody>
            <a:bodyPr wrap="square" lIns="89630" tIns="0" rIns="89630" bIns="0" rtlCol="0" anchor="ctr" anchorCtr="0">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20" normalizeH="0" baseline="0" noProof="0" dirty="0">
                  <a:ln w="3175">
                    <a:noFill/>
                  </a:ln>
                  <a:solidFill>
                    <a:srgbClr val="D83B01"/>
                  </a:solidFill>
                  <a:effectLst/>
                  <a:uLnTx/>
                  <a:uFillTx/>
                  <a:latin typeface="Segoe UI Semibold"/>
                  <a:ea typeface="+mn-ea"/>
                  <a:cs typeface="Segoe UI" pitchFamily="34" charset="0"/>
                </a:rPr>
                <a:t>Partners</a:t>
              </a:r>
            </a:p>
          </p:txBody>
        </p:sp>
        <p:pic>
          <p:nvPicPr>
            <p:cNvPr id="86" name="Picture 2" descr="Image result for zerto png logo">
              <a:extLst>
                <a:ext uri="{FF2B5EF4-FFF2-40B4-BE49-F238E27FC236}">
                  <a16:creationId xmlns:a16="http://schemas.microsoft.com/office/drawing/2014/main" id="{46D57640-BE85-4605-8977-4349D62DD72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243072" y="4742233"/>
              <a:ext cx="547258" cy="160745"/>
            </a:xfrm>
            <a:prstGeom prst="rect">
              <a:avLst/>
            </a:prstGeom>
            <a:noFill/>
            <a:extLst>
              <a:ext uri="{909E8E84-426E-40DD-AFC4-6F175D3DCCD1}">
                <a14:hiddenFill xmlns:a14="http://schemas.microsoft.com/office/drawing/2010/main">
                  <a:solidFill>
                    <a:srgbClr val="FFFFFF"/>
                  </a:solidFill>
                </a14:hiddenFill>
              </a:ext>
            </a:extLst>
          </p:spPr>
        </p:pic>
      </p:grpSp>
      <p:sp>
        <p:nvSpPr>
          <p:cNvPr id="117" name="TextBox 116">
            <a:extLst>
              <a:ext uri="{FF2B5EF4-FFF2-40B4-BE49-F238E27FC236}">
                <a16:creationId xmlns:a16="http://schemas.microsoft.com/office/drawing/2014/main" id="{7E54834A-522E-4915-A13E-147834CD97F3}"/>
              </a:ext>
            </a:extLst>
          </p:cNvPr>
          <p:cNvSpPr txBox="1"/>
          <p:nvPr/>
        </p:nvSpPr>
        <p:spPr>
          <a:xfrm>
            <a:off x="969018" y="1892953"/>
            <a:ext cx="1656323" cy="548640"/>
          </a:xfrm>
          <a:prstGeom prst="rect">
            <a:avLst/>
          </a:prstGeom>
          <a:noFill/>
        </p:spPr>
        <p:txBody>
          <a:bodyPr wrap="square" lIns="179259" tIns="143407" rIns="179259" bIns="143407" rtlCol="0" anchor="ctr">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Assess</a:t>
            </a:r>
          </a:p>
        </p:txBody>
      </p:sp>
      <p:cxnSp>
        <p:nvCxnSpPr>
          <p:cNvPr id="120" name="Straight Connector 119">
            <a:extLst>
              <a:ext uri="{FF2B5EF4-FFF2-40B4-BE49-F238E27FC236}">
                <a16:creationId xmlns:a16="http://schemas.microsoft.com/office/drawing/2014/main" id="{92BCEDC1-3995-4D8E-99CB-48048D993C55}"/>
              </a:ext>
            </a:extLst>
          </p:cNvPr>
          <p:cNvCxnSpPr>
            <a:cxnSpLocks/>
          </p:cNvCxnSpPr>
          <p:nvPr/>
        </p:nvCxnSpPr>
        <p:spPr>
          <a:xfrm>
            <a:off x="485973" y="2520359"/>
            <a:ext cx="1712697" cy="0"/>
          </a:xfrm>
          <a:prstGeom prst="line">
            <a:avLst/>
          </a:prstGeom>
          <a:noFill/>
          <a:ln w="12700" cap="flat" cmpd="sng" algn="ctr">
            <a:solidFill>
              <a:schemeClr val="accent5"/>
            </a:solidFill>
            <a:prstDash val="solid"/>
            <a:headEnd type="none"/>
            <a:tailEnd type="none"/>
          </a:ln>
          <a:effectLst/>
        </p:spPr>
      </p:cxnSp>
      <p:sp>
        <p:nvSpPr>
          <p:cNvPr id="61" name="Rectangle 60">
            <a:extLst>
              <a:ext uri="{FF2B5EF4-FFF2-40B4-BE49-F238E27FC236}">
                <a16:creationId xmlns:a16="http://schemas.microsoft.com/office/drawing/2014/main" id="{20AF6C35-07C0-4FD2-AB13-431E5E3EAC82}"/>
              </a:ext>
            </a:extLst>
          </p:cNvPr>
          <p:cNvSpPr/>
          <p:nvPr/>
        </p:nvSpPr>
        <p:spPr bwMode="auto">
          <a:xfrm>
            <a:off x="9676733" y="1892953"/>
            <a:ext cx="2051489"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Secure &amp; Manage</a:t>
            </a:r>
          </a:p>
        </p:txBody>
      </p:sp>
      <p:cxnSp>
        <p:nvCxnSpPr>
          <p:cNvPr id="78" name="Straight Connector 77">
            <a:extLst>
              <a:ext uri="{FF2B5EF4-FFF2-40B4-BE49-F238E27FC236}">
                <a16:creationId xmlns:a16="http://schemas.microsoft.com/office/drawing/2014/main" id="{5139492D-80FB-4AC9-8F16-7E0494C5151A}"/>
              </a:ext>
            </a:extLst>
          </p:cNvPr>
          <p:cNvCxnSpPr>
            <a:cxnSpLocks/>
          </p:cNvCxnSpPr>
          <p:nvPr/>
        </p:nvCxnSpPr>
        <p:spPr>
          <a:xfrm>
            <a:off x="9051029" y="2520359"/>
            <a:ext cx="1808799" cy="0"/>
          </a:xfrm>
          <a:prstGeom prst="line">
            <a:avLst/>
          </a:prstGeom>
          <a:noFill/>
          <a:ln w="12700" cap="flat" cmpd="sng" algn="ctr">
            <a:solidFill>
              <a:schemeClr val="accent5"/>
            </a:solidFill>
            <a:prstDash val="solid"/>
            <a:headEnd type="none"/>
            <a:tailEnd type="none"/>
          </a:ln>
          <a:effectLst/>
        </p:spPr>
      </p:cxnSp>
      <p:sp>
        <p:nvSpPr>
          <p:cNvPr id="100" name="Rectangle 99">
            <a:extLst>
              <a:ext uri="{FF2B5EF4-FFF2-40B4-BE49-F238E27FC236}">
                <a16:creationId xmlns:a16="http://schemas.microsoft.com/office/drawing/2014/main" id="{34348E7D-C2D0-47BC-A8E2-EABB0E1ED04B}"/>
              </a:ext>
            </a:extLst>
          </p:cNvPr>
          <p:cNvSpPr/>
          <p:nvPr/>
        </p:nvSpPr>
        <p:spPr>
          <a:xfrm>
            <a:off x="485973" y="3016008"/>
            <a:ext cx="2744564"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Data Migration Assistant (DMA)</a:t>
            </a:r>
          </a:p>
        </p:txBody>
      </p:sp>
      <p:sp>
        <p:nvSpPr>
          <p:cNvPr id="102" name="Rectangle 101">
            <a:extLst>
              <a:ext uri="{FF2B5EF4-FFF2-40B4-BE49-F238E27FC236}">
                <a16:creationId xmlns:a16="http://schemas.microsoft.com/office/drawing/2014/main" id="{E3A831F2-FB7C-4E76-8C25-3BB9CE628BAC}"/>
              </a:ext>
            </a:extLst>
          </p:cNvPr>
          <p:cNvSpPr/>
          <p:nvPr/>
        </p:nvSpPr>
        <p:spPr>
          <a:xfrm>
            <a:off x="485973" y="2610323"/>
            <a:ext cx="2380928"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Migrate</a:t>
            </a:r>
          </a:p>
        </p:txBody>
      </p:sp>
      <p:sp>
        <p:nvSpPr>
          <p:cNvPr id="50" name="Rectangle 49">
            <a:extLst>
              <a:ext uri="{FF2B5EF4-FFF2-40B4-BE49-F238E27FC236}">
                <a16:creationId xmlns:a16="http://schemas.microsoft.com/office/drawing/2014/main" id="{73CB86B9-F777-4587-9C18-EAD6B6F390A8}"/>
              </a:ext>
            </a:extLst>
          </p:cNvPr>
          <p:cNvSpPr/>
          <p:nvPr/>
        </p:nvSpPr>
        <p:spPr>
          <a:xfrm>
            <a:off x="485973" y="3395427"/>
            <a:ext cx="3082005"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SQL Server Migration Assistant (SSMA)</a:t>
            </a:r>
          </a:p>
        </p:txBody>
      </p:sp>
      <p:sp>
        <p:nvSpPr>
          <p:cNvPr id="80" name="TextBox 79">
            <a:extLst>
              <a:ext uri="{FF2B5EF4-FFF2-40B4-BE49-F238E27FC236}">
                <a16:creationId xmlns:a16="http://schemas.microsoft.com/office/drawing/2014/main" id="{07DEFF64-E7FF-4255-ABCE-50C055349CAA}"/>
              </a:ext>
            </a:extLst>
          </p:cNvPr>
          <p:cNvSpPr txBox="1"/>
          <p:nvPr/>
        </p:nvSpPr>
        <p:spPr>
          <a:xfrm>
            <a:off x="8970159" y="2638659"/>
            <a:ext cx="2930126" cy="646331"/>
          </a:xfrm>
          <a:prstGeom prst="rect">
            <a:avLst/>
          </a:prstGeom>
          <a:noFill/>
        </p:spPr>
        <p:txBody>
          <a:bodyPr wrap="square" rtlCol="0">
            <a:spAutoFit/>
          </a:bodyPr>
          <a:lstStyle>
            <a:defPPr>
              <a:defRPr lang="en-US"/>
            </a:defPPr>
            <a:lvl1pPr lvl="0" algn="ctr" defTabSz="914016">
              <a:defRPr sz="1600">
                <a:solidFill>
                  <a:srgbClr val="1A1A1A"/>
                </a:solidFill>
                <a:latin typeface="Segoe UI Semibold" panose="020B0702040204020203" pitchFamily="34" charset="0"/>
                <a:cs typeface="Segoe UI Semibold" panose="020B0702040204020203" pitchFamily="34" charset="0"/>
              </a:defRPr>
            </a:lvl1pPr>
          </a:lstStyle>
          <a:p>
            <a:pPr marL="53975" marR="0" lvl="0" indent="-53975"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Security &amp; Management</a:t>
            </a: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e.g., Blueprint, Security Center, </a:t>
            </a:r>
            <a:b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b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Backup, Monitor)</a:t>
            </a:r>
          </a:p>
        </p:txBody>
      </p:sp>
      <p:sp>
        <p:nvSpPr>
          <p:cNvPr id="118" name="TextBox 117">
            <a:extLst>
              <a:ext uri="{FF2B5EF4-FFF2-40B4-BE49-F238E27FC236}">
                <a16:creationId xmlns:a16="http://schemas.microsoft.com/office/drawing/2014/main" id="{497CCBF8-A3A2-4B00-9E0B-C0BB0C25F04E}"/>
              </a:ext>
            </a:extLst>
          </p:cNvPr>
          <p:cNvSpPr txBox="1"/>
          <p:nvPr/>
        </p:nvSpPr>
        <p:spPr>
          <a:xfrm>
            <a:off x="3791140"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Migrate</a:t>
            </a:r>
          </a:p>
        </p:txBody>
      </p:sp>
      <p:cxnSp>
        <p:nvCxnSpPr>
          <p:cNvPr id="121" name="Straight Connector 120">
            <a:extLst>
              <a:ext uri="{FF2B5EF4-FFF2-40B4-BE49-F238E27FC236}">
                <a16:creationId xmlns:a16="http://schemas.microsoft.com/office/drawing/2014/main" id="{AA57EC7A-A298-4405-8547-127CA942306C}"/>
              </a:ext>
            </a:extLst>
          </p:cNvPr>
          <p:cNvCxnSpPr>
            <a:cxnSpLocks/>
          </p:cNvCxnSpPr>
          <p:nvPr/>
        </p:nvCxnSpPr>
        <p:spPr>
          <a:xfrm>
            <a:off x="3401390" y="2520359"/>
            <a:ext cx="1707549" cy="0"/>
          </a:xfrm>
          <a:prstGeom prst="line">
            <a:avLst/>
          </a:prstGeom>
          <a:noFill/>
          <a:ln w="12700" cap="flat" cmpd="sng" algn="ctr">
            <a:solidFill>
              <a:schemeClr val="accent5"/>
            </a:solidFill>
            <a:prstDash val="solid"/>
            <a:headEnd type="none"/>
            <a:tailEnd type="none"/>
          </a:ln>
          <a:effectLst/>
        </p:spPr>
      </p:cxnSp>
      <p:sp>
        <p:nvSpPr>
          <p:cNvPr id="94" name="TextBox 93">
            <a:extLst>
              <a:ext uri="{FF2B5EF4-FFF2-40B4-BE49-F238E27FC236}">
                <a16:creationId xmlns:a16="http://schemas.microsoft.com/office/drawing/2014/main" id="{6CF0D7C2-5519-4B92-9385-37A37F75F960}"/>
              </a:ext>
            </a:extLst>
          </p:cNvPr>
          <p:cNvSpPr txBox="1"/>
          <p:nvPr/>
        </p:nvSpPr>
        <p:spPr>
          <a:xfrm>
            <a:off x="3329369" y="3016008"/>
            <a:ext cx="2601817" cy="276999"/>
          </a:xfrm>
          <a:prstGeom prst="rect">
            <a:avLst/>
          </a:prstGeom>
        </p:spPr>
        <p:txBody>
          <a:bodyPr wrap="square">
            <a:spAutoFit/>
          </a:bodyPr>
          <a:lstStyle>
            <a:defPPr>
              <a:defRPr lang="en-US"/>
            </a:defPPr>
            <a:lvl1pPr marR="0" lvl="0" indent="0" algn="ctr" defTabSz="914016" fontAlgn="auto">
              <a:lnSpc>
                <a:spcPct val="100000"/>
              </a:lnSpc>
              <a:spcBef>
                <a:spcPts val="0"/>
              </a:spcBef>
              <a:spcAft>
                <a:spcPts val="0"/>
              </a:spcAft>
              <a:buClrTx/>
              <a:buSzTx/>
              <a:buFontTx/>
              <a:buNone/>
              <a:tabLst/>
              <a:defRPr sz="1600">
                <a:solidFill>
                  <a:srgbClr val="1A1A1A"/>
                </a:solidFill>
                <a:latin typeface="Segoe UI Semibold" panose="020B0702040204020203" pitchFamily="34" charset="0"/>
                <a:cs typeface="Segoe UI Semibold" panose="020B0702040204020203" pitchFamily="34" charset="0"/>
              </a:defRPr>
            </a:lvl1p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Database Migration Service</a:t>
            </a:r>
          </a:p>
        </p:txBody>
      </p:sp>
      <p:sp>
        <p:nvSpPr>
          <p:cNvPr id="103" name="Rectangle 102">
            <a:extLst>
              <a:ext uri="{FF2B5EF4-FFF2-40B4-BE49-F238E27FC236}">
                <a16:creationId xmlns:a16="http://schemas.microsoft.com/office/drawing/2014/main" id="{A9E3B57E-D978-45D8-A421-56A11682DD96}"/>
              </a:ext>
            </a:extLst>
          </p:cNvPr>
          <p:cNvSpPr/>
          <p:nvPr/>
        </p:nvSpPr>
        <p:spPr>
          <a:xfrm>
            <a:off x="3329368" y="2605283"/>
            <a:ext cx="2169643"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Site Recovery (ASR)</a:t>
            </a:r>
          </a:p>
        </p:txBody>
      </p:sp>
      <p:sp>
        <p:nvSpPr>
          <p:cNvPr id="110" name="TextBox 109">
            <a:extLst>
              <a:ext uri="{FF2B5EF4-FFF2-40B4-BE49-F238E27FC236}">
                <a16:creationId xmlns:a16="http://schemas.microsoft.com/office/drawing/2014/main" id="{12EA37F1-275D-4BE3-97D8-B44BE30F1EFB}"/>
              </a:ext>
            </a:extLst>
          </p:cNvPr>
          <p:cNvSpPr txBox="1"/>
          <p:nvPr/>
        </p:nvSpPr>
        <p:spPr>
          <a:xfrm>
            <a:off x="3329369" y="3395427"/>
            <a:ext cx="2718298" cy="276999"/>
          </a:xfrm>
          <a:prstGeom prst="rect">
            <a:avLst/>
          </a:prstGeom>
          <a:no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Data Box</a:t>
            </a:r>
          </a:p>
        </p:txBody>
      </p:sp>
      <p:sp>
        <p:nvSpPr>
          <p:cNvPr id="56" name="Send" title="Icon of a paper airplane">
            <a:extLst>
              <a:ext uri="{FF2B5EF4-FFF2-40B4-BE49-F238E27FC236}">
                <a16:creationId xmlns:a16="http://schemas.microsoft.com/office/drawing/2014/main" id="{C699455D-4E62-401C-B838-8025ADF20081}"/>
              </a:ext>
            </a:extLst>
          </p:cNvPr>
          <p:cNvSpPr>
            <a:spLocks noChangeAspect="1" noEditPoints="1"/>
          </p:cNvSpPr>
          <p:nvPr/>
        </p:nvSpPr>
        <p:spPr bwMode="auto">
          <a:xfrm>
            <a:off x="3401390" y="1997065"/>
            <a:ext cx="508796" cy="340416"/>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accent1"/>
          </a:solidFill>
          <a:ln w="2222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1"/>
              </a:solidFill>
              <a:effectLst/>
              <a:uLnTx/>
              <a:uFillTx/>
              <a:latin typeface="Segoe UI Semilight"/>
              <a:ea typeface="+mn-ea"/>
              <a:cs typeface="+mn-cs"/>
            </a:endParaRPr>
          </a:p>
        </p:txBody>
      </p:sp>
      <p:grpSp>
        <p:nvGrpSpPr>
          <p:cNvPr id="17" name="Group 16">
            <a:extLst>
              <a:ext uri="{FF2B5EF4-FFF2-40B4-BE49-F238E27FC236}">
                <a16:creationId xmlns:a16="http://schemas.microsoft.com/office/drawing/2014/main" id="{FC35AA43-D1FD-4173-9C6B-29957C7B8044}"/>
              </a:ext>
            </a:extLst>
          </p:cNvPr>
          <p:cNvGrpSpPr/>
          <p:nvPr/>
        </p:nvGrpSpPr>
        <p:grpSpPr>
          <a:xfrm>
            <a:off x="450661" y="1918494"/>
            <a:ext cx="499449" cy="497558"/>
            <a:chOff x="485973" y="1753765"/>
            <a:chExt cx="499449" cy="497558"/>
          </a:xfrm>
          <a:solidFill>
            <a:schemeClr val="accent1"/>
          </a:solidFill>
        </p:grpSpPr>
        <p:sp>
          <p:nvSpPr>
            <p:cNvPr id="88" name="Freeform 101">
              <a:extLst>
                <a:ext uri="{FF2B5EF4-FFF2-40B4-BE49-F238E27FC236}">
                  <a16:creationId xmlns:a16="http://schemas.microsoft.com/office/drawing/2014/main" id="{1F00E183-9236-4418-A285-7A29CE804419}"/>
                </a:ext>
              </a:extLst>
            </p:cNvPr>
            <p:cNvSpPr>
              <a:spLocks/>
            </p:cNvSpPr>
            <p:nvPr/>
          </p:nvSpPr>
          <p:spPr bwMode="auto">
            <a:xfrm>
              <a:off x="642997" y="1753765"/>
              <a:ext cx="342425" cy="342426"/>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no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89" name="Freeform 102">
              <a:extLst>
                <a:ext uri="{FF2B5EF4-FFF2-40B4-BE49-F238E27FC236}">
                  <a16:creationId xmlns:a16="http://schemas.microsoft.com/office/drawing/2014/main" id="{8722D251-1619-4CDB-B990-4EAA27FEEEB7}"/>
                </a:ext>
              </a:extLst>
            </p:cNvPr>
            <p:cNvSpPr>
              <a:spLocks/>
            </p:cNvSpPr>
            <p:nvPr/>
          </p:nvSpPr>
          <p:spPr bwMode="auto">
            <a:xfrm>
              <a:off x="485973" y="2033760"/>
              <a:ext cx="217563" cy="217563"/>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90" name="Freeform 103">
              <a:extLst>
                <a:ext uri="{FF2B5EF4-FFF2-40B4-BE49-F238E27FC236}">
                  <a16:creationId xmlns:a16="http://schemas.microsoft.com/office/drawing/2014/main" id="{09ECD622-FDCE-4D18-8EFC-7EF5DF2E10AB}"/>
                </a:ext>
              </a:extLst>
            </p:cNvPr>
            <p:cNvSpPr>
              <a:spLocks/>
            </p:cNvSpPr>
            <p:nvPr/>
          </p:nvSpPr>
          <p:spPr bwMode="auto">
            <a:xfrm>
              <a:off x="673266" y="1784035"/>
              <a:ext cx="281886" cy="281886"/>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no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grpSp>
      <p:sp>
        <p:nvSpPr>
          <p:cNvPr id="119" name="TextBox 118">
            <a:extLst>
              <a:ext uri="{FF2B5EF4-FFF2-40B4-BE49-F238E27FC236}">
                <a16:creationId xmlns:a16="http://schemas.microsoft.com/office/drawing/2014/main" id="{AF8CFA70-C576-4DC3-9B5B-E4C7372D0ABA}"/>
              </a:ext>
            </a:extLst>
          </p:cNvPr>
          <p:cNvSpPr txBox="1"/>
          <p:nvPr/>
        </p:nvSpPr>
        <p:spPr>
          <a:xfrm>
            <a:off x="6548119"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Optimize</a:t>
            </a:r>
          </a:p>
        </p:txBody>
      </p:sp>
      <p:cxnSp>
        <p:nvCxnSpPr>
          <p:cNvPr id="122" name="Straight Connector 121">
            <a:extLst>
              <a:ext uri="{FF2B5EF4-FFF2-40B4-BE49-F238E27FC236}">
                <a16:creationId xmlns:a16="http://schemas.microsoft.com/office/drawing/2014/main" id="{AE6A23C6-FFE1-4782-BB29-765C6AB4CDAE}"/>
              </a:ext>
            </a:extLst>
          </p:cNvPr>
          <p:cNvCxnSpPr>
            <a:cxnSpLocks/>
          </p:cNvCxnSpPr>
          <p:nvPr/>
        </p:nvCxnSpPr>
        <p:spPr>
          <a:xfrm>
            <a:off x="6237569" y="2520359"/>
            <a:ext cx="1742512" cy="0"/>
          </a:xfrm>
          <a:prstGeom prst="line">
            <a:avLst/>
          </a:prstGeom>
          <a:noFill/>
          <a:ln w="12700" cap="flat" cmpd="sng" algn="ctr">
            <a:solidFill>
              <a:schemeClr val="accent5"/>
            </a:solidFill>
            <a:prstDash val="solid"/>
            <a:headEnd type="none"/>
            <a:tailEnd type="none"/>
          </a:ln>
          <a:effectLst/>
        </p:spPr>
      </p:cxnSp>
      <p:sp>
        <p:nvSpPr>
          <p:cNvPr id="95" name="TextBox 94">
            <a:extLst>
              <a:ext uri="{FF2B5EF4-FFF2-40B4-BE49-F238E27FC236}">
                <a16:creationId xmlns:a16="http://schemas.microsoft.com/office/drawing/2014/main" id="{780F2EB9-316E-474B-8356-D0EE9758820F}"/>
              </a:ext>
            </a:extLst>
          </p:cNvPr>
          <p:cNvSpPr txBox="1"/>
          <p:nvPr/>
        </p:nvSpPr>
        <p:spPr>
          <a:xfrm>
            <a:off x="6149153" y="2638659"/>
            <a:ext cx="2468880" cy="276999"/>
          </a:xfrm>
          <a:prstGeom prst="rect">
            <a:avLst/>
          </a:prstGeom>
          <a:noFill/>
        </p:spPr>
        <p:txBody>
          <a:bodyPr wrap="square" rtlCol="0">
            <a:spAutoFit/>
          </a:bodyPr>
          <a:lstStyle>
            <a:defPPr>
              <a:defRPr lang="en-US"/>
            </a:defPPr>
            <a:lvl1pPr lvl="0" algn="ctr" defTabSz="914016">
              <a:defRPr sz="1400">
                <a:solidFill>
                  <a:schemeClr val="tx2"/>
                </a:solidFill>
                <a:latin typeface="Segoe UI" charset="0"/>
                <a:cs typeface="Segoe UI" charset="0"/>
              </a:defRPr>
            </a:lvl1p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Cost Management</a:t>
            </a:r>
          </a:p>
        </p:txBody>
      </p:sp>
      <p:grpSp>
        <p:nvGrpSpPr>
          <p:cNvPr id="96" name="Group 95">
            <a:extLst>
              <a:ext uri="{FF2B5EF4-FFF2-40B4-BE49-F238E27FC236}">
                <a16:creationId xmlns:a16="http://schemas.microsoft.com/office/drawing/2014/main" id="{45CBE607-BBF6-4217-9C5D-968CF60ED551}"/>
              </a:ext>
            </a:extLst>
          </p:cNvPr>
          <p:cNvGrpSpPr/>
          <p:nvPr/>
        </p:nvGrpSpPr>
        <p:grpSpPr>
          <a:xfrm>
            <a:off x="6237569" y="1974403"/>
            <a:ext cx="468400" cy="385740"/>
            <a:chOff x="10082121" y="5760490"/>
            <a:chExt cx="536745" cy="442025"/>
          </a:xfrm>
          <a:solidFill>
            <a:schemeClr val="accent1"/>
          </a:solidFill>
        </p:grpSpPr>
        <p:sp>
          <p:nvSpPr>
            <p:cNvPr id="97" name="Freeform 1403">
              <a:extLst>
                <a:ext uri="{FF2B5EF4-FFF2-40B4-BE49-F238E27FC236}">
                  <a16:creationId xmlns:a16="http://schemas.microsoft.com/office/drawing/2014/main" id="{2545D006-691B-4B42-86EF-F14948EC3D69}"/>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98" name="Freeform 1404">
              <a:extLst>
                <a:ext uri="{FF2B5EF4-FFF2-40B4-BE49-F238E27FC236}">
                  <a16:creationId xmlns:a16="http://schemas.microsoft.com/office/drawing/2014/main" id="{A984BB38-1775-46C6-94F5-A3FF64427E32}"/>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99" name="Freeform 1405">
              <a:extLst>
                <a:ext uri="{FF2B5EF4-FFF2-40B4-BE49-F238E27FC236}">
                  <a16:creationId xmlns:a16="http://schemas.microsoft.com/office/drawing/2014/main" id="{E35324AF-8AF0-4B42-A7A7-B40F02215F18}"/>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101" name="Freeform 1406">
              <a:extLst>
                <a:ext uri="{FF2B5EF4-FFF2-40B4-BE49-F238E27FC236}">
                  <a16:creationId xmlns:a16="http://schemas.microsoft.com/office/drawing/2014/main" id="{A64A39AB-A77E-4DA0-B931-D23E10A58EA2}"/>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104" name="Freeform 1407">
              <a:extLst>
                <a:ext uri="{FF2B5EF4-FFF2-40B4-BE49-F238E27FC236}">
                  <a16:creationId xmlns:a16="http://schemas.microsoft.com/office/drawing/2014/main" id="{7B3AB554-2AD8-47A8-9E70-F06390F0440C}"/>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105" name="Freeform 1408">
              <a:extLst>
                <a:ext uri="{FF2B5EF4-FFF2-40B4-BE49-F238E27FC236}">
                  <a16:creationId xmlns:a16="http://schemas.microsoft.com/office/drawing/2014/main" id="{B0A2A06D-08FC-4749-A549-7A60D2AAC00E}"/>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407DFAFF-8C2E-43EA-B69F-AA08267529E2}"/>
              </a:ext>
            </a:extLst>
          </p:cNvPr>
          <p:cNvGrpSpPr/>
          <p:nvPr/>
        </p:nvGrpSpPr>
        <p:grpSpPr>
          <a:xfrm>
            <a:off x="9061876" y="1925562"/>
            <a:ext cx="483423" cy="483423"/>
            <a:chOff x="9162827" y="1753765"/>
            <a:chExt cx="483423" cy="483423"/>
          </a:xfrm>
          <a:solidFill>
            <a:schemeClr val="accent1"/>
          </a:solidFill>
        </p:grpSpPr>
        <p:sp>
          <p:nvSpPr>
            <p:cNvPr id="108" name="Freeform 1054">
              <a:extLst>
                <a:ext uri="{FF2B5EF4-FFF2-40B4-BE49-F238E27FC236}">
                  <a16:creationId xmlns:a16="http://schemas.microsoft.com/office/drawing/2014/main" id="{938A88EC-C9FF-4067-B8D0-ABD1D11F104D}"/>
                </a:ext>
              </a:extLst>
            </p:cNvPr>
            <p:cNvSpPr>
              <a:spLocks noEditPoints="1"/>
            </p:cNvSpPr>
            <p:nvPr/>
          </p:nvSpPr>
          <p:spPr bwMode="auto">
            <a:xfrm>
              <a:off x="9162827" y="1753765"/>
              <a:ext cx="483423" cy="483423"/>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109" name="Freeform 5">
              <a:extLst>
                <a:ext uri="{FF2B5EF4-FFF2-40B4-BE49-F238E27FC236}">
                  <a16:creationId xmlns:a16="http://schemas.microsoft.com/office/drawing/2014/main" id="{B92A4DD1-665D-40FA-8817-73F7A6F5EB74}"/>
                </a:ext>
              </a:extLst>
            </p:cNvPr>
            <p:cNvSpPr>
              <a:spLocks noEditPoints="1"/>
            </p:cNvSpPr>
            <p:nvPr/>
          </p:nvSpPr>
          <p:spPr bwMode="auto">
            <a:xfrm>
              <a:off x="9363230" y="1954168"/>
              <a:ext cx="82616" cy="82616"/>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grpSp>
      <p:sp>
        <p:nvSpPr>
          <p:cNvPr id="138" name="Arrow: Chevron 137">
            <a:extLst>
              <a:ext uri="{FF2B5EF4-FFF2-40B4-BE49-F238E27FC236}">
                <a16:creationId xmlns:a16="http://schemas.microsoft.com/office/drawing/2014/main" id="{FFFA4BEC-8E29-41DB-A460-306B8381E157}"/>
              </a:ext>
            </a:extLst>
          </p:cNvPr>
          <p:cNvSpPr/>
          <p:nvPr/>
        </p:nvSpPr>
        <p:spPr bwMode="auto">
          <a:xfrm>
            <a:off x="2580538" y="1947370"/>
            <a:ext cx="286363" cy="439807"/>
          </a:xfrm>
          <a:prstGeom prst="chevron">
            <a:avLst>
              <a:gd name="adj" fmla="val 62983"/>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chemeClr val="accent1"/>
              </a:solidFill>
              <a:effectLst/>
              <a:uLnTx/>
              <a:uFillTx/>
              <a:latin typeface="Segoe UI"/>
              <a:ea typeface="+mn-ea"/>
              <a:cs typeface="+mn-cs"/>
            </a:endParaRPr>
          </a:p>
        </p:txBody>
      </p:sp>
      <p:sp>
        <p:nvSpPr>
          <p:cNvPr id="139" name="Arrow: Chevron 138">
            <a:extLst>
              <a:ext uri="{FF2B5EF4-FFF2-40B4-BE49-F238E27FC236}">
                <a16:creationId xmlns:a16="http://schemas.microsoft.com/office/drawing/2014/main" id="{A064AA26-59D0-4600-942F-1F59BE7153EA}"/>
              </a:ext>
            </a:extLst>
          </p:cNvPr>
          <p:cNvSpPr/>
          <p:nvPr/>
        </p:nvSpPr>
        <p:spPr bwMode="auto">
          <a:xfrm>
            <a:off x="5450142" y="1947370"/>
            <a:ext cx="286363" cy="439807"/>
          </a:xfrm>
          <a:prstGeom prst="chevron">
            <a:avLst>
              <a:gd name="adj" fmla="val 61541"/>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chemeClr val="accent1"/>
              </a:solidFill>
              <a:effectLst/>
              <a:uLnTx/>
              <a:uFillTx/>
              <a:latin typeface="Segoe UI"/>
              <a:ea typeface="+mn-ea"/>
              <a:cs typeface="+mn-cs"/>
            </a:endParaRPr>
          </a:p>
        </p:txBody>
      </p:sp>
      <p:sp>
        <p:nvSpPr>
          <p:cNvPr id="140" name="Arrow: Chevron 139">
            <a:extLst>
              <a:ext uri="{FF2B5EF4-FFF2-40B4-BE49-F238E27FC236}">
                <a16:creationId xmlns:a16="http://schemas.microsoft.com/office/drawing/2014/main" id="{3BFA48E6-F6E4-4E2C-8312-85776418D99C}"/>
              </a:ext>
            </a:extLst>
          </p:cNvPr>
          <p:cNvSpPr/>
          <p:nvPr/>
        </p:nvSpPr>
        <p:spPr bwMode="auto">
          <a:xfrm>
            <a:off x="8499446" y="1947370"/>
            <a:ext cx="286363" cy="439807"/>
          </a:xfrm>
          <a:prstGeom prst="chevron">
            <a:avLst>
              <a:gd name="adj" fmla="val 61541"/>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chemeClr val="accent1"/>
              </a:solidFill>
              <a:effectLst/>
              <a:uLnTx/>
              <a:uFillTx/>
              <a:latin typeface="Segoe UI"/>
              <a:ea typeface="+mn-ea"/>
              <a:cs typeface="+mn-cs"/>
            </a:endParaRPr>
          </a:p>
        </p:txBody>
      </p:sp>
      <p:sp>
        <p:nvSpPr>
          <p:cNvPr id="141" name="Arrow: Chevron 140">
            <a:extLst>
              <a:ext uri="{FF2B5EF4-FFF2-40B4-BE49-F238E27FC236}">
                <a16:creationId xmlns:a16="http://schemas.microsoft.com/office/drawing/2014/main" id="{3DB08F07-E3CD-4756-BD12-D8702DEB3889}"/>
              </a:ext>
            </a:extLst>
          </p:cNvPr>
          <p:cNvSpPr/>
          <p:nvPr/>
        </p:nvSpPr>
        <p:spPr bwMode="auto">
          <a:xfrm flipH="1">
            <a:off x="8077415" y="1947370"/>
            <a:ext cx="286363" cy="439807"/>
          </a:xfrm>
          <a:prstGeom prst="chevron">
            <a:avLst>
              <a:gd name="adj" fmla="val 61541"/>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chemeClr val="accent1"/>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AEF4A872-8A33-42C5-B7B5-FED8985B3E6F}"/>
              </a:ext>
            </a:extLst>
          </p:cNvPr>
          <p:cNvPicPr>
            <a:picLocks noChangeAspect="1"/>
          </p:cNvPicPr>
          <p:nvPr/>
        </p:nvPicPr>
        <p:blipFill>
          <a:blip r:embed="rId22"/>
          <a:stretch>
            <a:fillRect/>
          </a:stretch>
        </p:blipFill>
        <p:spPr>
          <a:xfrm>
            <a:off x="8728006" y="4767915"/>
            <a:ext cx="1068546" cy="320725"/>
          </a:xfrm>
          <a:prstGeom prst="rect">
            <a:avLst/>
          </a:prstGeom>
        </p:spPr>
      </p:pic>
      <p:pic>
        <p:nvPicPr>
          <p:cNvPr id="77" name="Picture 2" descr="https://upload.wikimedia.org/wikipedia/en/5/56/Chef_Software_Inc._company_logo.png">
            <a:extLst>
              <a:ext uri="{FF2B5EF4-FFF2-40B4-BE49-F238E27FC236}">
                <a16:creationId xmlns:a16="http://schemas.microsoft.com/office/drawing/2014/main" id="{1E58D8C6-1361-4A86-8896-ED3CF33C8DF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435222" y="4591641"/>
            <a:ext cx="641882" cy="701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21377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1ED65-CA04-4A0C-A4C3-DB1BC89E29AC}"/>
              </a:ext>
            </a:extLst>
          </p:cNvPr>
          <p:cNvSpPr>
            <a:spLocks noGrp="1"/>
          </p:cNvSpPr>
          <p:nvPr>
            <p:ph type="title"/>
          </p:nvPr>
        </p:nvSpPr>
        <p:spPr>
          <a:xfrm>
            <a:off x="269302" y="2521552"/>
            <a:ext cx="9423291" cy="1721369"/>
          </a:xfrm>
        </p:spPr>
        <p:txBody>
          <a:bodyPr/>
          <a:lstStyle/>
          <a:p>
            <a:r>
              <a:rPr lang="en-US" dirty="0"/>
              <a:t>Azure Discovery and Assessment Tools</a:t>
            </a:r>
            <a:endParaRPr lang="en-IN" dirty="0"/>
          </a:p>
        </p:txBody>
      </p:sp>
    </p:spTree>
    <p:extLst>
      <p:ext uri="{BB962C8B-B14F-4D97-AF65-F5344CB8AC3E}">
        <p14:creationId xmlns:p14="http://schemas.microsoft.com/office/powerpoint/2010/main" val="13596190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422A58D2-7388-4B1E-BE61-03AFA280FAEC}"/>
              </a:ext>
            </a:extLst>
          </p:cNvPr>
          <p:cNvSpPr>
            <a:spLocks noGrp="1"/>
          </p:cNvSpPr>
          <p:nvPr>
            <p:ph type="title"/>
          </p:nvPr>
        </p:nvSpPr>
        <p:spPr>
          <a:xfrm>
            <a:off x="381866" y="2645459"/>
            <a:ext cx="9630389" cy="783541"/>
          </a:xfrm>
        </p:spPr>
        <p:txBody>
          <a:bodyPr/>
          <a:lstStyle/>
          <a:p>
            <a:br>
              <a:rPr lang="en-US" sz="4902" dirty="0">
                <a:solidFill>
                  <a:schemeClr val="accent5"/>
                </a:solidFill>
              </a:rPr>
            </a:br>
            <a:br>
              <a:rPr lang="en-US" sz="4902" dirty="0">
                <a:solidFill>
                  <a:schemeClr val="accent5"/>
                </a:solidFill>
              </a:rPr>
            </a:br>
            <a:br>
              <a:rPr lang="en-US" sz="4902" dirty="0"/>
            </a:br>
            <a:r>
              <a:rPr lang="en-US" sz="4902" dirty="0"/>
              <a:t>Presentation title</a:t>
            </a:r>
          </a:p>
        </p:txBody>
      </p:sp>
      <p:sp>
        <p:nvSpPr>
          <p:cNvPr id="5" name="Text Placeholder 10">
            <a:extLst>
              <a:ext uri="{FF2B5EF4-FFF2-40B4-BE49-F238E27FC236}">
                <a16:creationId xmlns:a16="http://schemas.microsoft.com/office/drawing/2014/main" id="{84483FC8-5248-457B-A925-23038B08A5C1}"/>
              </a:ext>
            </a:extLst>
          </p:cNvPr>
          <p:cNvSpPr>
            <a:spLocks noGrp="1"/>
          </p:cNvSpPr>
          <p:nvPr>
            <p:ph type="body" sz="quarter" idx="16"/>
          </p:nvPr>
        </p:nvSpPr>
        <p:spPr>
          <a:xfrm>
            <a:off x="403210" y="3993054"/>
            <a:ext cx="9609045" cy="1025869"/>
          </a:xfrm>
        </p:spPr>
        <p:txBody>
          <a:bodyPr/>
          <a:lstStyle>
            <a:lvl1pPr>
              <a:defRPr sz="1800">
                <a:solidFill>
                  <a:schemeClr val="tx1"/>
                </a:solidFill>
              </a:defRPr>
            </a:lvl1pPr>
            <a:lvl2pPr>
              <a:defRPr sz="1800">
                <a:solidFill>
                  <a:schemeClr val="tx1"/>
                </a:solidFill>
              </a:defRPr>
            </a:lvl2pPr>
            <a:lvl3pPr>
              <a:defRPr sz="1400"/>
            </a:lvl3pPr>
            <a:lvl4pPr>
              <a:defRPr sz="1400"/>
            </a:lvl4pPr>
            <a:lvl5pPr>
              <a:defRPr sz="1050"/>
            </a:lvl5pPr>
          </a:lstStyle>
          <a:p>
            <a:pPr lvl="0"/>
            <a:r>
              <a:rPr lang="en-US" sz="2745" dirty="0">
                <a:solidFill>
                  <a:schemeClr val="bg1"/>
                </a:solidFill>
              </a:rPr>
              <a:t>Speaker name</a:t>
            </a:r>
          </a:p>
          <a:p>
            <a:pPr lvl="1"/>
            <a:r>
              <a:rPr lang="en-US" sz="2745">
                <a:solidFill>
                  <a:schemeClr val="bg1"/>
                </a:solidFill>
              </a:rPr>
              <a:t>Title</a:t>
            </a:r>
            <a:endParaRPr lang="en-US" sz="2745" dirty="0">
              <a:solidFill>
                <a:schemeClr val="bg1"/>
              </a:solidFill>
            </a:endParaRPr>
          </a:p>
        </p:txBody>
      </p:sp>
      <p:sp>
        <p:nvSpPr>
          <p:cNvPr id="6" name="Title 1">
            <a:extLst>
              <a:ext uri="{FF2B5EF4-FFF2-40B4-BE49-F238E27FC236}">
                <a16:creationId xmlns:a16="http://schemas.microsoft.com/office/drawing/2014/main" id="{C6FEC1BD-F13A-4679-A6A8-2D36225EA57A}"/>
              </a:ext>
            </a:extLst>
          </p:cNvPr>
          <p:cNvSpPr txBox="1">
            <a:spLocks/>
          </p:cNvSpPr>
          <p:nvPr/>
        </p:nvSpPr>
        <p:spPr bwMode="auto">
          <a:xfrm>
            <a:off x="172147" y="183730"/>
            <a:ext cx="5090317" cy="6608955"/>
          </a:xfrm>
          <a:prstGeom prst="roundRect">
            <a:avLst>
              <a:gd name="adj" fmla="val 3915"/>
            </a:avLst>
          </a:prstGeom>
          <a:solidFill>
            <a:srgbClr val="FFFFFF">
              <a:lumMod val="75000"/>
            </a:srgbClr>
          </a:solidFill>
          <a:ln w="25400" cap="flat" cmpd="sng" algn="ctr">
            <a:noFill/>
            <a:prstDash val="solid"/>
            <a:miter lim="800000"/>
            <a:headEnd/>
            <a:tailEnd/>
          </a:ln>
          <a:effectLst>
            <a:outerShdw blurRad="50800" dist="38100" dir="2700000" algn="tl" rotWithShape="0">
              <a:prstClr val="black">
                <a:alpha val="40000"/>
              </a:prstClr>
            </a:outerShdw>
          </a:effectLst>
        </p:spPr>
        <p:txBody>
          <a:bodyPr vert="horz" wrap="square" lIns="224106" tIns="224106" rIns="224106" bIns="224106" numCol="1" anchor="t" anchorCtr="0" compatLnSpc="1">
            <a:prstTxWarp prst="textNoShape">
              <a:avLst/>
            </a:prstTxWarp>
            <a:normAutofit/>
          </a:bodyPr>
          <a:lstStyle>
            <a:lvl1pPr algn="l" rtl="0" eaLnBrk="1" fontAlgn="base" hangingPunct="1">
              <a:lnSpc>
                <a:spcPct val="90000"/>
              </a:lnSpc>
              <a:spcBef>
                <a:spcPct val="0"/>
              </a:spcBef>
              <a:spcAft>
                <a:spcPct val="0"/>
              </a:spcAft>
              <a:defRPr sz="2800" b="0" cap="none" baseline="0">
                <a:solidFill>
                  <a:schemeClr val="tx2"/>
                </a:solidFill>
                <a:latin typeface="+mn-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0" marR="0" lvl="0" indent="0" algn="l" defTabSz="896386"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solidFill>
                <a:srgbClr val="005291"/>
              </a:solidFill>
              <a:effectLst/>
              <a:uLnTx/>
              <a:uFillTx/>
              <a:latin typeface="Museo Sans For Dell"/>
              <a:cs typeface="+mj-cs"/>
            </a:endParaRPr>
          </a:p>
        </p:txBody>
      </p:sp>
      <p:sp>
        <p:nvSpPr>
          <p:cNvPr id="7" name="Rounded Rectangle 17">
            <a:extLst>
              <a:ext uri="{FF2B5EF4-FFF2-40B4-BE49-F238E27FC236}">
                <a16:creationId xmlns:a16="http://schemas.microsoft.com/office/drawing/2014/main" id="{68B01C42-D773-4C14-AA16-F4B8FD7D5FD1}"/>
              </a:ext>
            </a:extLst>
          </p:cNvPr>
          <p:cNvSpPr/>
          <p:nvPr/>
        </p:nvSpPr>
        <p:spPr>
          <a:xfrm>
            <a:off x="684129" y="2140542"/>
            <a:ext cx="4365602" cy="727042"/>
          </a:xfrm>
          <a:prstGeom prst="roundRect">
            <a:avLst>
              <a:gd name="adj" fmla="val 11848"/>
            </a:avLst>
          </a:prstGeom>
          <a:solidFill>
            <a:srgbClr val="40587C"/>
          </a:solidFill>
          <a:ln w="17145" cap="flat" cmpd="sng" algn="ctr">
            <a:solidFill>
              <a:srgbClr val="FFFFFF">
                <a:shade val="95000"/>
                <a:alpha val="50000"/>
                <a:satMod val="150000"/>
              </a:srgbClr>
            </a:solidFill>
            <a:prstDash val="solid"/>
          </a:ln>
          <a:effectLst/>
        </p:spPr>
        <p:txBody>
          <a:bodyPr wrap="square" lIns="179285" tIns="134464" rIns="134464" bIns="134464"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mn-ea"/>
                <a:cs typeface="+mn-cs"/>
              </a:rPr>
              <a:t>Tell us what you think by completing our survey</a:t>
            </a: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8" name="Rounded Rectangle 15">
            <a:extLst>
              <a:ext uri="{FF2B5EF4-FFF2-40B4-BE49-F238E27FC236}">
                <a16:creationId xmlns:a16="http://schemas.microsoft.com/office/drawing/2014/main" id="{A2633103-CDCF-4662-A8AD-EB0F7B383EB6}"/>
              </a:ext>
            </a:extLst>
          </p:cNvPr>
          <p:cNvSpPr/>
          <p:nvPr/>
        </p:nvSpPr>
        <p:spPr>
          <a:xfrm>
            <a:off x="684130" y="2949492"/>
            <a:ext cx="4365602" cy="940742"/>
          </a:xfrm>
          <a:prstGeom prst="roundRect">
            <a:avLst>
              <a:gd name="adj" fmla="val 11848"/>
            </a:avLst>
          </a:prstGeom>
          <a:solidFill>
            <a:srgbClr val="002050"/>
          </a:solidFill>
          <a:ln w="17145" cap="flat" cmpd="sng" algn="ctr">
            <a:solidFill>
              <a:srgbClr val="FFFFFF">
                <a:shade val="95000"/>
                <a:alpha val="50000"/>
                <a:satMod val="150000"/>
              </a:srgbClr>
            </a:solidFill>
            <a:prstDash val="solid"/>
          </a:ln>
          <a:effectLst/>
        </p:spPr>
        <p:txBody>
          <a:bodyPr wrap="square" lIns="179285" tIns="134464" rIns="134464" bIns="134464" rtlCol="0" anchor="ctr">
            <a:noAutofit/>
          </a:bodyPr>
          <a:lstStyle/>
          <a:p>
            <a:pPr marL="0" marR="0" lvl="0" indent="0" algn="l" defTabSz="896386" rtl="0" eaLnBrk="1" fontAlgn="auto" latinLnBrk="0" hangingPunct="1">
              <a:lnSpc>
                <a:spcPct val="90000"/>
              </a:lnSpc>
              <a:spcBef>
                <a:spcPts val="588"/>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light"/>
                <a:ea typeface="+mn-ea"/>
                <a:cs typeface="+mn-cs"/>
              </a:rPr>
              <a:t>Schedule a post-event session to address your specific requirements</a:t>
            </a:r>
            <a:r>
              <a:rPr kumimoji="0" lang="en-US" sz="1400" b="0" i="0" u="none" strike="noStrike" kern="0" cap="none" spc="0" normalizeH="0" baseline="0" noProof="0">
                <a:ln>
                  <a:noFill/>
                </a:ln>
                <a:solidFill>
                  <a:srgbClr val="FFFFFF"/>
                </a:solidFill>
                <a:effectLst/>
                <a:uLnTx/>
                <a:uFillTx/>
                <a:latin typeface="Segoe UI Semilight"/>
                <a:ea typeface="+mn-ea"/>
                <a:cs typeface="+mn-cs"/>
              </a:rPr>
              <a:t>. </a:t>
            </a:r>
            <a:endParaRPr kumimoji="0" lang="en-US" sz="1400" b="0" i="0" u="none" strike="noStrike" kern="0" cap="none" spc="0" normalizeH="0" baseline="0" noProof="0" dirty="0">
              <a:ln>
                <a:noFill/>
              </a:ln>
              <a:solidFill>
                <a:srgbClr val="FFFFFF"/>
              </a:solidFill>
              <a:effectLst/>
              <a:uLnTx/>
              <a:uFillTx/>
              <a:latin typeface="Segoe UI Semilight"/>
              <a:ea typeface="+mn-ea"/>
              <a:cs typeface="+mn-cs"/>
            </a:endParaRPr>
          </a:p>
        </p:txBody>
      </p:sp>
      <p:pic>
        <p:nvPicPr>
          <p:cNvPr id="10" name="Picture 9">
            <a:extLst>
              <a:ext uri="{FF2B5EF4-FFF2-40B4-BE49-F238E27FC236}">
                <a16:creationId xmlns:a16="http://schemas.microsoft.com/office/drawing/2014/main" id="{2C9C748E-6B43-412A-B995-EFE36587B0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403210" y="544488"/>
            <a:ext cx="498407" cy="1071043"/>
          </a:xfrm>
          <a:prstGeom prst="rect">
            <a:avLst/>
          </a:prstGeom>
        </p:spPr>
      </p:pic>
      <p:sp>
        <p:nvSpPr>
          <p:cNvPr id="11" name="Rounded Rectangle 15">
            <a:extLst>
              <a:ext uri="{FF2B5EF4-FFF2-40B4-BE49-F238E27FC236}">
                <a16:creationId xmlns:a16="http://schemas.microsoft.com/office/drawing/2014/main" id="{9A20FBA0-3FC2-4F8F-B6DE-FD1D8B079FF9}"/>
              </a:ext>
            </a:extLst>
          </p:cNvPr>
          <p:cNvSpPr/>
          <p:nvPr/>
        </p:nvSpPr>
        <p:spPr>
          <a:xfrm>
            <a:off x="684129" y="4009608"/>
            <a:ext cx="4365602" cy="1086484"/>
          </a:xfrm>
          <a:prstGeom prst="roundRect">
            <a:avLst>
              <a:gd name="adj" fmla="val 11848"/>
            </a:avLst>
          </a:prstGeom>
          <a:solidFill>
            <a:srgbClr val="0078D4"/>
          </a:solidFill>
          <a:ln w="17145" cap="flat" cmpd="sng" algn="ctr">
            <a:solidFill>
              <a:srgbClr val="FFFFFF">
                <a:shade val="95000"/>
                <a:alpha val="50000"/>
                <a:satMod val="150000"/>
              </a:srgbClr>
            </a:solidFill>
            <a:prstDash val="solid"/>
          </a:ln>
          <a:effectLst/>
        </p:spPr>
        <p:txBody>
          <a:bodyPr wrap="square" lIns="179285" tIns="134464" rIns="134464" bIns="134464" rtlCol="0" anchor="ctr">
            <a:noAutofit/>
          </a:bodyPr>
          <a:lstStyle/>
          <a:p>
            <a:pPr marL="0" marR="0" lvl="0" indent="0" algn="l" defTabSz="896386" rtl="0" eaLnBrk="1" fontAlgn="auto" latinLnBrk="0" hangingPunct="1">
              <a:lnSpc>
                <a:spcPct val="90000"/>
              </a:lnSpc>
              <a:spcBef>
                <a:spcPts val="588"/>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light"/>
                <a:ea typeface="+mn-ea"/>
                <a:cs typeface="+mn-cs"/>
              </a:rPr>
              <a:t>Learn more : </a:t>
            </a:r>
            <a:r>
              <a:rPr kumimoji="0" lang="en-US" sz="14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aka.ms/</a:t>
            </a:r>
            <a:r>
              <a:rPr kumimoji="0" lang="en-US" sz="1400" b="0" i="0" u="none" strike="noStrike" kern="0" cap="none" spc="0" normalizeH="0" baseline="0" noProof="0" dirty="0" err="1">
                <a:ln>
                  <a:noFill/>
                </a:ln>
                <a:solidFill>
                  <a:srgbClr val="FFFFFF"/>
                </a:solidFill>
                <a:effectLst/>
                <a:uLnTx/>
                <a:uFillTx/>
                <a:latin typeface="Segoe UI Light" panose="020B0502040204020203" pitchFamily="34" charset="0"/>
                <a:ea typeface="+mn-ea"/>
                <a:cs typeface="+mn-cs"/>
              </a:rPr>
              <a:t>techdocs</a:t>
            </a:r>
            <a:endParaRPr kumimoji="0" lang="en-US" sz="14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endParaRPr>
          </a:p>
          <a:p>
            <a:pPr marL="0" marR="0" lvl="0" indent="0" algn="l" defTabSz="896386" rtl="0" eaLnBrk="1" fontAlgn="auto" latinLnBrk="0" hangingPunct="1">
              <a:lnSpc>
                <a:spcPct val="90000"/>
              </a:lnSpc>
              <a:spcBef>
                <a:spcPts val="588"/>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light"/>
                <a:ea typeface="+mn-ea"/>
                <a:cs typeface="+mn-cs"/>
              </a:rPr>
              <a:t>Get certified : </a:t>
            </a:r>
            <a:r>
              <a:rPr kumimoji="0" lang="en-US" sz="14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aka.ms/</a:t>
            </a:r>
            <a:r>
              <a:rPr kumimoji="0" lang="en-US" sz="1400" b="0" i="0" u="none" strike="noStrike" kern="0" cap="none" spc="0" normalizeH="0" baseline="0" noProof="0" dirty="0" err="1">
                <a:ln>
                  <a:noFill/>
                </a:ln>
                <a:solidFill>
                  <a:srgbClr val="FFFFFF"/>
                </a:solidFill>
                <a:effectLst/>
                <a:uLnTx/>
                <a:uFillTx/>
                <a:latin typeface="Segoe UI Light" panose="020B0502040204020203" pitchFamily="34" charset="0"/>
                <a:ea typeface="+mn-ea"/>
                <a:cs typeface="+mn-cs"/>
              </a:rPr>
              <a:t>microsoftlearn</a:t>
            </a:r>
            <a:endParaRPr kumimoji="0" lang="en-US" sz="1400" b="0" i="0" u="none" strike="noStrike" kern="0" cap="none" spc="0" normalizeH="0" baseline="0" noProof="0" dirty="0">
              <a:ln>
                <a:noFill/>
              </a:ln>
              <a:solidFill>
                <a:srgbClr val="FFFFFF"/>
              </a:solidFill>
              <a:effectLst/>
              <a:uLnTx/>
              <a:uFillTx/>
              <a:latin typeface="Segoe UI"/>
              <a:ea typeface="+mn-ea"/>
              <a:cs typeface="+mn-cs"/>
            </a:endParaRPr>
          </a:p>
          <a:p>
            <a:pPr marL="0" marR="0" lvl="0" indent="0" algn="l" defTabSz="896386" rtl="0" eaLnBrk="1" fontAlgn="auto" latinLnBrk="0" hangingPunct="1">
              <a:lnSpc>
                <a:spcPct val="90000"/>
              </a:lnSpc>
              <a:spcBef>
                <a:spcPts val="588"/>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light"/>
                <a:ea typeface="+mn-ea"/>
                <a:cs typeface="+mn-cs"/>
              </a:rPr>
              <a:t>Sign up Developer newsletter: </a:t>
            </a:r>
            <a:r>
              <a:rPr kumimoji="0" lang="en-ZA" sz="14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aka.ms/</a:t>
            </a:r>
            <a:r>
              <a:rPr kumimoji="0" lang="en-ZA" sz="1400" b="0" i="0" u="none" strike="noStrike" kern="0" cap="none" spc="0" normalizeH="0" baseline="0" noProof="0" dirty="0" err="1">
                <a:ln>
                  <a:noFill/>
                </a:ln>
                <a:solidFill>
                  <a:srgbClr val="FFFFFF"/>
                </a:solidFill>
                <a:effectLst/>
                <a:uLnTx/>
                <a:uFillTx/>
                <a:latin typeface="Segoe UI Light" panose="020B0502040204020203" pitchFamily="34" charset="0"/>
                <a:ea typeface="+mn-ea"/>
                <a:cs typeface="+mn-cs"/>
              </a:rPr>
              <a:t>usdevconnect</a:t>
            </a:r>
            <a:endParaRPr kumimoji="0" lang="en-ZA" sz="14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endParaRPr>
          </a:p>
        </p:txBody>
      </p:sp>
      <p:grpSp>
        <p:nvGrpSpPr>
          <p:cNvPr id="12" name="Group 11">
            <a:extLst>
              <a:ext uri="{FF2B5EF4-FFF2-40B4-BE49-F238E27FC236}">
                <a16:creationId xmlns:a16="http://schemas.microsoft.com/office/drawing/2014/main" id="{5A5E1E3F-E1B0-476A-8FD8-E9AD66584A5D}"/>
              </a:ext>
            </a:extLst>
          </p:cNvPr>
          <p:cNvGrpSpPr/>
          <p:nvPr/>
        </p:nvGrpSpPr>
        <p:grpSpPr>
          <a:xfrm>
            <a:off x="253533" y="2347236"/>
            <a:ext cx="347499" cy="336556"/>
            <a:chOff x="5798264" y="5000554"/>
            <a:chExt cx="347499" cy="336556"/>
          </a:xfrm>
        </p:grpSpPr>
        <p:sp>
          <p:nvSpPr>
            <p:cNvPr id="13" name="Arrow: Right 12">
              <a:extLst>
                <a:ext uri="{FF2B5EF4-FFF2-40B4-BE49-F238E27FC236}">
                  <a16:creationId xmlns:a16="http://schemas.microsoft.com/office/drawing/2014/main" id="{CAC05F25-6569-4609-B66F-87CD9AB96FD5}"/>
                </a:ext>
              </a:extLst>
            </p:cNvPr>
            <p:cNvSpPr/>
            <p:nvPr/>
          </p:nvSpPr>
          <p:spPr bwMode="auto">
            <a:xfrm>
              <a:off x="5887583" y="5083748"/>
              <a:ext cx="189757" cy="174273"/>
            </a:xfrm>
            <a:prstGeom prst="rightArrow">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0861C218-2CE0-4B09-B264-92507B9BDCF9}"/>
                </a:ext>
              </a:extLst>
            </p:cNvPr>
            <p:cNvSpPr/>
            <p:nvPr/>
          </p:nvSpPr>
          <p:spPr bwMode="auto">
            <a:xfrm>
              <a:off x="5798264" y="5000554"/>
              <a:ext cx="347499" cy="336556"/>
            </a:xfrm>
            <a:prstGeom prst="ellipse">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4BC0412D-5193-4468-9523-2131171D3DBC}"/>
              </a:ext>
            </a:extLst>
          </p:cNvPr>
          <p:cNvGrpSpPr/>
          <p:nvPr/>
        </p:nvGrpSpPr>
        <p:grpSpPr>
          <a:xfrm>
            <a:off x="253533" y="3243325"/>
            <a:ext cx="347499" cy="336556"/>
            <a:chOff x="5798264" y="5000554"/>
            <a:chExt cx="347499" cy="336556"/>
          </a:xfrm>
        </p:grpSpPr>
        <p:sp>
          <p:nvSpPr>
            <p:cNvPr id="16" name="Arrow: Right 15">
              <a:extLst>
                <a:ext uri="{FF2B5EF4-FFF2-40B4-BE49-F238E27FC236}">
                  <a16:creationId xmlns:a16="http://schemas.microsoft.com/office/drawing/2014/main" id="{7DF1D73C-DA99-4675-B2AA-89EF645C14E2}"/>
                </a:ext>
              </a:extLst>
            </p:cNvPr>
            <p:cNvSpPr/>
            <p:nvPr/>
          </p:nvSpPr>
          <p:spPr bwMode="auto">
            <a:xfrm>
              <a:off x="5887583" y="5083748"/>
              <a:ext cx="189757" cy="174273"/>
            </a:xfrm>
            <a:prstGeom prst="rightArrow">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BE53ED89-EFC5-4914-A19A-C780EED44CA2}"/>
                </a:ext>
              </a:extLst>
            </p:cNvPr>
            <p:cNvSpPr/>
            <p:nvPr/>
          </p:nvSpPr>
          <p:spPr bwMode="auto">
            <a:xfrm>
              <a:off x="5798264" y="5000554"/>
              <a:ext cx="347499" cy="336556"/>
            </a:xfrm>
            <a:prstGeom prst="ellipse">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47306ECC-00CC-4EAE-9183-AC6F9577CECD}"/>
              </a:ext>
            </a:extLst>
          </p:cNvPr>
          <p:cNvGrpSpPr/>
          <p:nvPr/>
        </p:nvGrpSpPr>
        <p:grpSpPr>
          <a:xfrm>
            <a:off x="253533" y="4629903"/>
            <a:ext cx="347499" cy="336556"/>
            <a:chOff x="5798264" y="5000554"/>
            <a:chExt cx="347499" cy="336556"/>
          </a:xfrm>
        </p:grpSpPr>
        <p:sp>
          <p:nvSpPr>
            <p:cNvPr id="19" name="Arrow: Right 18">
              <a:extLst>
                <a:ext uri="{FF2B5EF4-FFF2-40B4-BE49-F238E27FC236}">
                  <a16:creationId xmlns:a16="http://schemas.microsoft.com/office/drawing/2014/main" id="{135726E4-E10C-4BDA-999B-C51314E699B8}"/>
                </a:ext>
              </a:extLst>
            </p:cNvPr>
            <p:cNvSpPr/>
            <p:nvPr/>
          </p:nvSpPr>
          <p:spPr bwMode="auto">
            <a:xfrm>
              <a:off x="5887583" y="5083748"/>
              <a:ext cx="189757" cy="174273"/>
            </a:xfrm>
            <a:prstGeom prst="rightArrow">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0B7B55CE-7F7D-475D-B761-2084BAC7F56C}"/>
                </a:ext>
              </a:extLst>
            </p:cNvPr>
            <p:cNvSpPr/>
            <p:nvPr/>
          </p:nvSpPr>
          <p:spPr bwMode="auto">
            <a:xfrm>
              <a:off x="5798264" y="5000554"/>
              <a:ext cx="347499" cy="336556"/>
            </a:xfrm>
            <a:prstGeom prst="ellipse">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88982B68-54BB-4777-A3C4-025A6D4D25A9}"/>
              </a:ext>
            </a:extLst>
          </p:cNvPr>
          <p:cNvGrpSpPr/>
          <p:nvPr/>
        </p:nvGrpSpPr>
        <p:grpSpPr>
          <a:xfrm>
            <a:off x="8481525" y="1834556"/>
            <a:ext cx="2844162" cy="3775004"/>
            <a:chOff x="8481525" y="1834556"/>
            <a:chExt cx="2844162" cy="3775004"/>
          </a:xfrm>
        </p:grpSpPr>
        <p:pic>
          <p:nvPicPr>
            <p:cNvPr id="25" name="Picture 24">
              <a:extLst>
                <a:ext uri="{FF2B5EF4-FFF2-40B4-BE49-F238E27FC236}">
                  <a16:creationId xmlns:a16="http://schemas.microsoft.com/office/drawing/2014/main" id="{81431237-CCF2-4F88-8ACC-7CBE42A3286B}"/>
                </a:ext>
              </a:extLst>
            </p:cNvPr>
            <p:cNvPicPr>
              <a:picLocks noChangeAspect="1"/>
            </p:cNvPicPr>
            <p:nvPr userDrawn="1"/>
          </p:nvPicPr>
          <p:blipFill>
            <a:blip r:embed="rId3"/>
            <a:stretch>
              <a:fillRect/>
            </a:stretch>
          </p:blipFill>
          <p:spPr>
            <a:xfrm>
              <a:off x="9633198" y="3834724"/>
              <a:ext cx="594360" cy="594360"/>
            </a:xfrm>
            <a:prstGeom prst="rect">
              <a:avLst/>
            </a:prstGeom>
          </p:spPr>
        </p:pic>
        <p:pic>
          <p:nvPicPr>
            <p:cNvPr id="26" name="Picture 25">
              <a:extLst>
                <a:ext uri="{FF2B5EF4-FFF2-40B4-BE49-F238E27FC236}">
                  <a16:creationId xmlns:a16="http://schemas.microsoft.com/office/drawing/2014/main" id="{8561B673-648D-4774-828B-7038261C32F3}"/>
                </a:ext>
              </a:extLst>
            </p:cNvPr>
            <p:cNvPicPr>
              <a:picLocks noChangeAspect="1"/>
            </p:cNvPicPr>
            <p:nvPr userDrawn="1"/>
          </p:nvPicPr>
          <p:blipFill>
            <a:blip r:embed="rId4"/>
            <a:stretch>
              <a:fillRect/>
            </a:stretch>
          </p:blipFill>
          <p:spPr>
            <a:xfrm>
              <a:off x="10731327" y="1834556"/>
              <a:ext cx="594360" cy="594360"/>
            </a:xfrm>
            <a:prstGeom prst="rect">
              <a:avLst/>
            </a:prstGeom>
          </p:spPr>
        </p:pic>
        <p:pic>
          <p:nvPicPr>
            <p:cNvPr id="27" name="Picture 26">
              <a:extLst>
                <a:ext uri="{FF2B5EF4-FFF2-40B4-BE49-F238E27FC236}">
                  <a16:creationId xmlns:a16="http://schemas.microsoft.com/office/drawing/2014/main" id="{57895F94-4D09-486F-BD1C-2001E9B862AB}"/>
                </a:ext>
              </a:extLst>
            </p:cNvPr>
            <p:cNvPicPr>
              <a:picLocks noChangeAspect="1"/>
            </p:cNvPicPr>
            <p:nvPr userDrawn="1"/>
          </p:nvPicPr>
          <p:blipFill>
            <a:blip r:embed="rId5"/>
            <a:stretch>
              <a:fillRect/>
            </a:stretch>
          </p:blipFill>
          <p:spPr>
            <a:xfrm>
              <a:off x="8481525" y="2834640"/>
              <a:ext cx="594360" cy="594360"/>
            </a:xfrm>
            <a:prstGeom prst="rect">
              <a:avLst/>
            </a:prstGeom>
          </p:spPr>
        </p:pic>
        <p:pic>
          <p:nvPicPr>
            <p:cNvPr id="28" name="Picture 27">
              <a:extLst>
                <a:ext uri="{FF2B5EF4-FFF2-40B4-BE49-F238E27FC236}">
                  <a16:creationId xmlns:a16="http://schemas.microsoft.com/office/drawing/2014/main" id="{A5CA6FBC-B3E4-4C2C-B039-D9B3BC2A8A2A}"/>
                </a:ext>
              </a:extLst>
            </p:cNvPr>
            <p:cNvPicPr>
              <a:picLocks noChangeAspect="1"/>
            </p:cNvPicPr>
            <p:nvPr userDrawn="1"/>
          </p:nvPicPr>
          <p:blipFill>
            <a:blip r:embed="rId6"/>
            <a:stretch>
              <a:fillRect/>
            </a:stretch>
          </p:blipFill>
          <p:spPr>
            <a:xfrm>
              <a:off x="9633198" y="2867584"/>
              <a:ext cx="594360" cy="493171"/>
            </a:xfrm>
            <a:prstGeom prst="rect">
              <a:avLst/>
            </a:prstGeom>
          </p:spPr>
        </p:pic>
        <p:pic>
          <p:nvPicPr>
            <p:cNvPr id="29" name="Picture 28">
              <a:extLst>
                <a:ext uri="{FF2B5EF4-FFF2-40B4-BE49-F238E27FC236}">
                  <a16:creationId xmlns:a16="http://schemas.microsoft.com/office/drawing/2014/main" id="{E143275E-8EFF-4BE0-A286-99F371754F29}"/>
                </a:ext>
              </a:extLst>
            </p:cNvPr>
            <p:cNvPicPr>
              <a:picLocks noChangeAspect="1"/>
            </p:cNvPicPr>
            <p:nvPr userDrawn="1"/>
          </p:nvPicPr>
          <p:blipFill>
            <a:blip r:embed="rId7"/>
            <a:stretch>
              <a:fillRect/>
            </a:stretch>
          </p:blipFill>
          <p:spPr>
            <a:xfrm>
              <a:off x="9633198" y="1834556"/>
              <a:ext cx="594360" cy="594360"/>
            </a:xfrm>
            <a:prstGeom prst="rect">
              <a:avLst/>
            </a:prstGeom>
          </p:spPr>
        </p:pic>
        <p:pic>
          <p:nvPicPr>
            <p:cNvPr id="30" name="Picture 29">
              <a:extLst>
                <a:ext uri="{FF2B5EF4-FFF2-40B4-BE49-F238E27FC236}">
                  <a16:creationId xmlns:a16="http://schemas.microsoft.com/office/drawing/2014/main" id="{723F7F2C-A9A9-42D9-8A91-2671D6066D9F}"/>
                </a:ext>
              </a:extLst>
            </p:cNvPr>
            <p:cNvPicPr>
              <a:picLocks noChangeAspect="1"/>
            </p:cNvPicPr>
            <p:nvPr userDrawn="1"/>
          </p:nvPicPr>
          <p:blipFill>
            <a:blip r:embed="rId8"/>
            <a:stretch>
              <a:fillRect/>
            </a:stretch>
          </p:blipFill>
          <p:spPr>
            <a:xfrm>
              <a:off x="8481525" y="1834556"/>
              <a:ext cx="594360" cy="594360"/>
            </a:xfrm>
            <a:prstGeom prst="rect">
              <a:avLst/>
            </a:prstGeom>
          </p:spPr>
        </p:pic>
        <p:pic>
          <p:nvPicPr>
            <p:cNvPr id="31" name="Picture 30">
              <a:extLst>
                <a:ext uri="{FF2B5EF4-FFF2-40B4-BE49-F238E27FC236}">
                  <a16:creationId xmlns:a16="http://schemas.microsoft.com/office/drawing/2014/main" id="{C74C7A21-8A4D-4D1B-8033-31548656DE47}"/>
                </a:ext>
              </a:extLst>
            </p:cNvPr>
            <p:cNvPicPr>
              <a:picLocks noChangeAspect="1"/>
            </p:cNvPicPr>
            <p:nvPr userDrawn="1"/>
          </p:nvPicPr>
          <p:blipFill>
            <a:blip r:embed="rId9"/>
            <a:stretch>
              <a:fillRect/>
            </a:stretch>
          </p:blipFill>
          <p:spPr>
            <a:xfrm>
              <a:off x="8490069" y="3834724"/>
              <a:ext cx="594360" cy="594360"/>
            </a:xfrm>
            <a:prstGeom prst="rect">
              <a:avLst/>
            </a:prstGeom>
          </p:spPr>
        </p:pic>
        <p:pic>
          <p:nvPicPr>
            <p:cNvPr id="32" name="Picture 31">
              <a:extLst>
                <a:ext uri="{FF2B5EF4-FFF2-40B4-BE49-F238E27FC236}">
                  <a16:creationId xmlns:a16="http://schemas.microsoft.com/office/drawing/2014/main" id="{885AF17E-8B2C-422A-A60E-C3D9A2BDA977}"/>
                </a:ext>
              </a:extLst>
            </p:cNvPr>
            <p:cNvPicPr>
              <a:picLocks noChangeAspect="1"/>
            </p:cNvPicPr>
            <p:nvPr userDrawn="1"/>
          </p:nvPicPr>
          <p:blipFill>
            <a:blip r:embed="rId10"/>
            <a:stretch>
              <a:fillRect/>
            </a:stretch>
          </p:blipFill>
          <p:spPr>
            <a:xfrm>
              <a:off x="10731327" y="2972070"/>
              <a:ext cx="594360" cy="259786"/>
            </a:xfrm>
            <a:prstGeom prst="rect">
              <a:avLst/>
            </a:prstGeom>
          </p:spPr>
        </p:pic>
        <p:pic>
          <p:nvPicPr>
            <p:cNvPr id="33" name="Picture 32">
              <a:extLst>
                <a:ext uri="{FF2B5EF4-FFF2-40B4-BE49-F238E27FC236}">
                  <a16:creationId xmlns:a16="http://schemas.microsoft.com/office/drawing/2014/main" id="{E45902AE-CA6B-4CE8-8462-BC80662D7D4A}"/>
                </a:ext>
              </a:extLst>
            </p:cNvPr>
            <p:cNvPicPr>
              <a:picLocks noChangeAspect="1"/>
            </p:cNvPicPr>
            <p:nvPr userDrawn="1"/>
          </p:nvPicPr>
          <p:blipFill>
            <a:blip r:embed="rId11"/>
            <a:stretch>
              <a:fillRect/>
            </a:stretch>
          </p:blipFill>
          <p:spPr>
            <a:xfrm>
              <a:off x="10731327" y="4000752"/>
              <a:ext cx="594360" cy="262304"/>
            </a:xfrm>
            <a:prstGeom prst="rect">
              <a:avLst/>
            </a:prstGeom>
          </p:spPr>
        </p:pic>
        <p:pic>
          <p:nvPicPr>
            <p:cNvPr id="34" name="Picture 33">
              <a:extLst>
                <a:ext uri="{FF2B5EF4-FFF2-40B4-BE49-F238E27FC236}">
                  <a16:creationId xmlns:a16="http://schemas.microsoft.com/office/drawing/2014/main" id="{2E6FC831-7B0C-4DA7-98C9-85D817F3396C}"/>
                </a:ext>
              </a:extLst>
            </p:cNvPr>
            <p:cNvPicPr>
              <a:picLocks noChangeAspect="1"/>
            </p:cNvPicPr>
            <p:nvPr userDrawn="1"/>
          </p:nvPicPr>
          <p:blipFill>
            <a:blip r:embed="rId12"/>
            <a:stretch>
              <a:fillRect/>
            </a:stretch>
          </p:blipFill>
          <p:spPr>
            <a:xfrm>
              <a:off x="8582907" y="5015200"/>
              <a:ext cx="408683" cy="594360"/>
            </a:xfrm>
            <a:prstGeom prst="rect">
              <a:avLst/>
            </a:prstGeom>
          </p:spPr>
        </p:pic>
        <p:pic>
          <p:nvPicPr>
            <p:cNvPr id="35" name="Picture 34">
              <a:extLst>
                <a:ext uri="{FF2B5EF4-FFF2-40B4-BE49-F238E27FC236}">
                  <a16:creationId xmlns:a16="http://schemas.microsoft.com/office/drawing/2014/main" id="{AF1A50E5-4A8E-4439-BC84-F29727192D6B}"/>
                </a:ext>
              </a:extLst>
            </p:cNvPr>
            <p:cNvPicPr>
              <a:picLocks noChangeAspect="1"/>
            </p:cNvPicPr>
            <p:nvPr userDrawn="1"/>
          </p:nvPicPr>
          <p:blipFill>
            <a:blip r:embed="rId13"/>
            <a:stretch>
              <a:fillRect/>
            </a:stretch>
          </p:blipFill>
          <p:spPr>
            <a:xfrm>
              <a:off x="9633198" y="5089372"/>
              <a:ext cx="594360" cy="446015"/>
            </a:xfrm>
            <a:prstGeom prst="rect">
              <a:avLst/>
            </a:prstGeom>
          </p:spPr>
        </p:pic>
        <p:pic>
          <p:nvPicPr>
            <p:cNvPr id="36" name="Picture 35">
              <a:extLst>
                <a:ext uri="{FF2B5EF4-FFF2-40B4-BE49-F238E27FC236}">
                  <a16:creationId xmlns:a16="http://schemas.microsoft.com/office/drawing/2014/main" id="{5D018286-87A2-49A9-80A7-2D5725DA3F98}"/>
                </a:ext>
              </a:extLst>
            </p:cNvPr>
            <p:cNvPicPr>
              <a:picLocks noChangeAspect="1"/>
            </p:cNvPicPr>
            <p:nvPr userDrawn="1"/>
          </p:nvPicPr>
          <p:blipFill>
            <a:blip r:embed="rId14"/>
            <a:stretch>
              <a:fillRect/>
            </a:stretch>
          </p:blipFill>
          <p:spPr>
            <a:xfrm>
              <a:off x="10731327" y="5054172"/>
              <a:ext cx="594360" cy="446015"/>
            </a:xfrm>
            <a:prstGeom prst="rect">
              <a:avLst/>
            </a:prstGeom>
          </p:spPr>
        </p:pic>
      </p:grpSp>
      <p:sp>
        <p:nvSpPr>
          <p:cNvPr id="2" name="Rectangle 1">
            <a:extLst>
              <a:ext uri="{FF2B5EF4-FFF2-40B4-BE49-F238E27FC236}">
                <a16:creationId xmlns:a16="http://schemas.microsoft.com/office/drawing/2014/main" id="{8CE4B972-6C56-45BD-83EC-4F45926EDAE2}"/>
              </a:ext>
            </a:extLst>
          </p:cNvPr>
          <p:cNvSpPr/>
          <p:nvPr/>
        </p:nvSpPr>
        <p:spPr>
          <a:xfrm>
            <a:off x="1561432" y="413334"/>
            <a:ext cx="3041217" cy="535531"/>
          </a:xfrm>
          <a:prstGeom prst="rect">
            <a:avLst/>
          </a:prstGeom>
        </p:spPr>
        <p:txBody>
          <a:bodyPr wrap="none">
            <a:spAutoFit/>
          </a:bodyPr>
          <a:lstStyle/>
          <a:p>
            <a:pPr marL="0" marR="0" lvl="0" indent="0" algn="l" defTabSz="896386"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005291"/>
                </a:solidFill>
                <a:effectLst/>
                <a:uLnTx/>
                <a:uFillTx/>
                <a:latin typeface="Museo Sans For Dell"/>
                <a:ea typeface="+mn-ea"/>
                <a:cs typeface="+mn-cs"/>
              </a:rPr>
              <a:t>Let’s get Started!</a:t>
            </a:r>
          </a:p>
        </p:txBody>
      </p:sp>
    </p:spTree>
    <p:extLst>
      <p:ext uri="{BB962C8B-B14F-4D97-AF65-F5344CB8AC3E}">
        <p14:creationId xmlns:p14="http://schemas.microsoft.com/office/powerpoint/2010/main" val="154530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D9B50-C129-4975-BE42-6CC5E89B5A3F}"/>
              </a:ext>
            </a:extLst>
          </p:cNvPr>
          <p:cNvSpPr>
            <a:spLocks noGrp="1"/>
          </p:cNvSpPr>
          <p:nvPr>
            <p:ph type="title"/>
          </p:nvPr>
        </p:nvSpPr>
        <p:spPr/>
        <p:txBody>
          <a:bodyPr/>
          <a:lstStyle/>
          <a:p>
            <a:r>
              <a:rPr lang="en-IN" dirty="0"/>
              <a:t>Discovery and Assessment using MAP Toolkit</a:t>
            </a:r>
          </a:p>
        </p:txBody>
      </p:sp>
    </p:spTree>
    <p:extLst>
      <p:ext uri="{BB962C8B-B14F-4D97-AF65-F5344CB8AC3E}">
        <p14:creationId xmlns:p14="http://schemas.microsoft.com/office/powerpoint/2010/main" val="423381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62725-20B2-4B0B-B4DC-2380F17AD351}"/>
              </a:ext>
            </a:extLst>
          </p:cNvPr>
          <p:cNvSpPr>
            <a:spLocks noGrp="1"/>
          </p:cNvSpPr>
          <p:nvPr>
            <p:ph type="title"/>
          </p:nvPr>
        </p:nvSpPr>
        <p:spPr>
          <a:xfrm>
            <a:off x="588263" y="457200"/>
            <a:ext cx="11018520" cy="430887"/>
          </a:xfrm>
        </p:spPr>
        <p:txBody>
          <a:bodyPr/>
          <a:lstStyle/>
          <a:p>
            <a:r>
              <a:rPr lang="en-IN" sz="2750" dirty="0"/>
              <a:t>Microsoft Assessment and Planning (MAP) Toolkit </a:t>
            </a:r>
          </a:p>
        </p:txBody>
      </p:sp>
      <p:sp>
        <p:nvSpPr>
          <p:cNvPr id="3" name="Text Placeholder 2">
            <a:extLst>
              <a:ext uri="{FF2B5EF4-FFF2-40B4-BE49-F238E27FC236}">
                <a16:creationId xmlns:a16="http://schemas.microsoft.com/office/drawing/2014/main" id="{318950A0-2611-42E2-ABF0-430DB4C7995A}"/>
              </a:ext>
            </a:extLst>
          </p:cNvPr>
          <p:cNvSpPr>
            <a:spLocks noGrp="1"/>
          </p:cNvSpPr>
          <p:nvPr>
            <p:ph type="body" sz="quarter" idx="10"/>
          </p:nvPr>
        </p:nvSpPr>
        <p:spPr>
          <a:xfrm>
            <a:off x="586390" y="1434370"/>
            <a:ext cx="11018520" cy="3471720"/>
          </a:xfrm>
        </p:spPr>
        <p:txBody>
          <a:bodyPr/>
          <a:lstStyle/>
          <a:p>
            <a:pPr marL="457200" indent="-457200">
              <a:buFont typeface="Arial" panose="020B0604020202020204" pitchFamily="34" charset="0"/>
              <a:buChar char="•"/>
            </a:pPr>
            <a:r>
              <a:rPr lang="en-US" sz="2400" dirty="0"/>
              <a:t>Multi-product (Microsoft Servers, Exchange, SharePoint, Oracle, Office 365, Windows Clients, </a:t>
            </a:r>
            <a:r>
              <a:rPr lang="en-US" sz="2400" dirty="0" err="1"/>
              <a:t>Vmware</a:t>
            </a:r>
            <a:r>
              <a:rPr lang="en-US" sz="2400" dirty="0"/>
              <a:t> hosts,…) assessment and planning</a:t>
            </a:r>
          </a:p>
          <a:p>
            <a:pPr marL="457200" indent="-457200">
              <a:buFont typeface="Arial" panose="020B0604020202020204" pitchFamily="34" charset="0"/>
              <a:buChar char="•"/>
            </a:pPr>
            <a:r>
              <a:rPr lang="en-US" sz="2400" dirty="0"/>
              <a:t>Agentless data collection technologies to gather inventory </a:t>
            </a:r>
          </a:p>
          <a:p>
            <a:pPr marL="457200" indent="-457200">
              <a:buFont typeface="Arial" panose="020B0604020202020204" pitchFamily="34" charset="0"/>
              <a:buChar char="•"/>
            </a:pPr>
            <a:r>
              <a:rPr lang="en-US" sz="2400" dirty="0"/>
              <a:t>Performance collection as option</a:t>
            </a:r>
          </a:p>
          <a:p>
            <a:pPr marL="457200" indent="-457200">
              <a:buFont typeface="Arial" panose="020B0604020202020204" pitchFamily="34" charset="0"/>
              <a:buChar char="•"/>
            </a:pPr>
            <a:r>
              <a:rPr lang="en-US" sz="2400" dirty="0"/>
              <a:t>The main areas of planning:</a:t>
            </a:r>
          </a:p>
          <a:p>
            <a:pPr marL="571500" lvl="1" indent="-342900">
              <a:buFont typeface="Arial" panose="020B0604020202020204" pitchFamily="34" charset="0"/>
              <a:buChar char="•"/>
            </a:pPr>
            <a:r>
              <a:rPr lang="en-US" sz="1800" dirty="0"/>
              <a:t>Migration Planning</a:t>
            </a:r>
          </a:p>
          <a:p>
            <a:pPr marL="571500" lvl="1" indent="-342900">
              <a:buFont typeface="Arial" panose="020B0604020202020204" pitchFamily="34" charset="0"/>
              <a:buChar char="•"/>
            </a:pPr>
            <a:r>
              <a:rPr lang="en-US" sz="1800" dirty="0"/>
              <a:t>Consolidation/Virtualization</a:t>
            </a:r>
          </a:p>
          <a:p>
            <a:pPr marL="571500" lvl="1" indent="-342900">
              <a:buFont typeface="Arial" panose="020B0604020202020204" pitchFamily="34" charset="0"/>
              <a:buChar char="•"/>
            </a:pPr>
            <a:r>
              <a:rPr lang="en-US" sz="1800" dirty="0"/>
              <a:t>Private/Public Cloud Planning</a:t>
            </a:r>
          </a:p>
          <a:p>
            <a:pPr marL="571500" lvl="1" indent="-342900">
              <a:buFont typeface="Arial" panose="020B0604020202020204" pitchFamily="34" charset="0"/>
              <a:buChar char="•"/>
            </a:pPr>
            <a:r>
              <a:rPr lang="en-US" sz="1800" dirty="0"/>
              <a:t>Software Usage Tracking</a:t>
            </a:r>
          </a:p>
        </p:txBody>
      </p:sp>
    </p:spTree>
    <p:extLst>
      <p:ext uri="{BB962C8B-B14F-4D97-AF65-F5344CB8AC3E}">
        <p14:creationId xmlns:p14="http://schemas.microsoft.com/office/powerpoint/2010/main" val="388278075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840B9-DE14-4F1F-8ADB-71BB2AE297E3}"/>
              </a:ext>
            </a:extLst>
          </p:cNvPr>
          <p:cNvSpPr>
            <a:spLocks noGrp="1"/>
          </p:cNvSpPr>
          <p:nvPr>
            <p:ph type="title"/>
          </p:nvPr>
        </p:nvSpPr>
        <p:spPr/>
        <p:txBody>
          <a:bodyPr/>
          <a:lstStyle/>
          <a:p>
            <a:r>
              <a:rPr lang="en-IN" dirty="0"/>
              <a:t>MAP Toolkit</a:t>
            </a:r>
          </a:p>
        </p:txBody>
      </p:sp>
      <p:sp>
        <p:nvSpPr>
          <p:cNvPr id="3" name="Text Placeholder 2">
            <a:extLst>
              <a:ext uri="{FF2B5EF4-FFF2-40B4-BE49-F238E27FC236}">
                <a16:creationId xmlns:a16="http://schemas.microsoft.com/office/drawing/2014/main" id="{7ABF10F4-9BEA-41EB-884C-51801216630D}"/>
              </a:ext>
            </a:extLst>
          </p:cNvPr>
          <p:cNvSpPr>
            <a:spLocks noGrp="1"/>
          </p:cNvSpPr>
          <p:nvPr>
            <p:ph type="body" sz="quarter" idx="10"/>
          </p:nvPr>
        </p:nvSpPr>
        <p:spPr>
          <a:xfrm>
            <a:off x="584200" y="1435497"/>
            <a:ext cx="11018520" cy="3081356"/>
          </a:xfrm>
        </p:spPr>
        <p:txBody>
          <a:bodyPr/>
          <a:lstStyle/>
          <a:p>
            <a:r>
              <a:rPr lang="en-US" dirty="0">
                <a:solidFill>
                  <a:schemeClr val="tx2"/>
                </a:solidFill>
              </a:rPr>
              <a:t>Inventory | Assessment | Reporting</a:t>
            </a:r>
          </a:p>
          <a:p>
            <a:endParaRPr lang="en-US" dirty="0"/>
          </a:p>
          <a:p>
            <a:pPr marL="342900" indent="-342900">
              <a:buFont typeface="Arial" panose="020B0604020202020204" pitchFamily="34" charset="0"/>
              <a:buChar char="•"/>
            </a:pPr>
            <a:r>
              <a:rPr lang="en-US" dirty="0"/>
              <a:t>Data collection based on WMI, Active Directory, local admin permissions, network IP ranges</a:t>
            </a:r>
          </a:p>
          <a:p>
            <a:endParaRPr lang="en-US" dirty="0"/>
          </a:p>
          <a:p>
            <a:pPr marL="342900" indent="-342900">
              <a:buFont typeface="Arial" panose="020B0604020202020204" pitchFamily="34" charset="0"/>
              <a:buChar char="•"/>
            </a:pPr>
            <a:r>
              <a:rPr lang="en-US" dirty="0"/>
              <a:t>inventories hardware, Operating System and installed software</a:t>
            </a:r>
          </a:p>
          <a:p>
            <a:endParaRPr lang="en-US" dirty="0"/>
          </a:p>
          <a:p>
            <a:pPr marL="342900" indent="-342900">
              <a:buFont typeface="Arial" panose="020B0604020202020204" pitchFamily="34" charset="0"/>
              <a:buChar char="•"/>
            </a:pPr>
            <a:r>
              <a:rPr lang="en-US" dirty="0"/>
              <a:t>Simplifies the planning process for migration to Azure</a:t>
            </a:r>
            <a:endParaRPr lang="en-IN" dirty="0"/>
          </a:p>
        </p:txBody>
      </p:sp>
      <p:pic>
        <p:nvPicPr>
          <p:cNvPr id="4" name="Picture 3" descr="A screenshot of a cell phone&#10;&#10;Description generated with high confidence">
            <a:extLst>
              <a:ext uri="{FF2B5EF4-FFF2-40B4-BE49-F238E27FC236}">
                <a16:creationId xmlns:a16="http://schemas.microsoft.com/office/drawing/2014/main" id="{F8A8D847-AA60-4BB2-B1A8-F4F0BBDAB1A4}"/>
              </a:ext>
            </a:extLst>
          </p:cNvPr>
          <p:cNvPicPr>
            <a:picLocks noChangeAspect="1"/>
          </p:cNvPicPr>
          <p:nvPr/>
        </p:nvPicPr>
        <p:blipFill>
          <a:blip r:embed="rId3"/>
          <a:stretch>
            <a:fillRect/>
          </a:stretch>
        </p:blipFill>
        <p:spPr>
          <a:xfrm>
            <a:off x="1392252" y="4604138"/>
            <a:ext cx="8923144" cy="1806937"/>
          </a:xfrm>
          <a:prstGeom prst="rect">
            <a:avLst/>
          </a:prstGeom>
        </p:spPr>
      </p:pic>
    </p:spTree>
    <p:extLst>
      <p:ext uri="{BB962C8B-B14F-4D97-AF65-F5344CB8AC3E}">
        <p14:creationId xmlns:p14="http://schemas.microsoft.com/office/powerpoint/2010/main" val="253962093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585216" y="3977319"/>
            <a:ext cx="9144000" cy="307777"/>
          </a:xfrm>
        </p:spPr>
        <p:txBody>
          <a:bodyPr/>
          <a:lstStyle/>
          <a:p>
            <a:r>
              <a:rPr lang="en-US" dirty="0"/>
              <a:t>Microsoft Assessment &amp; Planning Toolkit</a:t>
            </a:r>
          </a:p>
        </p:txBody>
      </p:sp>
    </p:spTree>
    <p:extLst>
      <p:ext uri="{BB962C8B-B14F-4D97-AF65-F5344CB8AC3E}">
        <p14:creationId xmlns:p14="http://schemas.microsoft.com/office/powerpoint/2010/main" val="203203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a:xfrm>
            <a:off x="585216" y="2537210"/>
            <a:ext cx="9144000" cy="997196"/>
          </a:xfrm>
        </p:spPr>
        <p:txBody>
          <a:bodyPr/>
          <a:lstStyle/>
          <a:p>
            <a:r>
              <a:rPr lang="en-US" b="1" dirty="0"/>
              <a:t>Discovery and Assessment using Azure Migrate</a:t>
            </a:r>
            <a:endParaRPr lang="en-US" dirty="0"/>
          </a:p>
        </p:txBody>
      </p:sp>
    </p:spTree>
    <p:extLst>
      <p:ext uri="{BB962C8B-B14F-4D97-AF65-F5344CB8AC3E}">
        <p14:creationId xmlns:p14="http://schemas.microsoft.com/office/powerpoint/2010/main" val="164638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29950A-1579-4016-A426-6176FCBA67F0}"/>
              </a:ext>
            </a:extLst>
          </p:cNvPr>
          <p:cNvSpPr>
            <a:spLocks noGrp="1"/>
          </p:cNvSpPr>
          <p:nvPr>
            <p:ph type="title"/>
          </p:nvPr>
        </p:nvSpPr>
        <p:spPr/>
        <p:txBody>
          <a:bodyPr/>
          <a:lstStyle/>
          <a:p>
            <a:r>
              <a:rPr lang="en-US" dirty="0"/>
              <a:t>Azure Migrate – Assessment Tools</a:t>
            </a:r>
          </a:p>
        </p:txBody>
      </p:sp>
      <p:sp>
        <p:nvSpPr>
          <p:cNvPr id="5" name="Text Placeholder 4">
            <a:extLst>
              <a:ext uri="{FF2B5EF4-FFF2-40B4-BE49-F238E27FC236}">
                <a16:creationId xmlns:a16="http://schemas.microsoft.com/office/drawing/2014/main" id="{20D8122A-A6D4-4BAC-B83F-251C2CF8639B}"/>
              </a:ext>
            </a:extLst>
          </p:cNvPr>
          <p:cNvSpPr>
            <a:spLocks noGrp="1"/>
          </p:cNvSpPr>
          <p:nvPr>
            <p:ph type="body" sz="quarter" idx="10"/>
          </p:nvPr>
        </p:nvSpPr>
        <p:spPr>
          <a:xfrm>
            <a:off x="1858418" y="1537307"/>
            <a:ext cx="9384447" cy="595548"/>
          </a:xfrm>
        </p:spPr>
        <p:txBody>
          <a:bodyPr/>
          <a:lstStyle/>
          <a:p>
            <a:r>
              <a:rPr lang="en-US" dirty="0">
                <a:solidFill>
                  <a:schemeClr val="tx2"/>
                </a:solidFill>
              </a:rPr>
              <a:t>“… Azure Migrate is a collection of different assessment tools, allowing any organization to migrate any of their existing workloads to Azure…”</a:t>
            </a:r>
          </a:p>
        </p:txBody>
      </p:sp>
      <p:sp>
        <p:nvSpPr>
          <p:cNvPr id="6" name="Text Placeholder 5">
            <a:extLst>
              <a:ext uri="{FF2B5EF4-FFF2-40B4-BE49-F238E27FC236}">
                <a16:creationId xmlns:a16="http://schemas.microsoft.com/office/drawing/2014/main" id="{79C33F1C-75C8-413D-A941-3AA072B358CC}"/>
              </a:ext>
            </a:extLst>
          </p:cNvPr>
          <p:cNvSpPr>
            <a:spLocks noGrp="1"/>
          </p:cNvSpPr>
          <p:nvPr>
            <p:ph type="body" sz="quarter" idx="11"/>
          </p:nvPr>
        </p:nvSpPr>
        <p:spPr>
          <a:xfrm>
            <a:off x="450118" y="3757563"/>
            <a:ext cx="3618381" cy="213007"/>
          </a:xfrm>
        </p:spPr>
        <p:txBody>
          <a:bodyPr/>
          <a:lstStyle/>
          <a:p>
            <a:r>
              <a:rPr lang="en-US" dirty="0"/>
              <a:t>Azure Migrate – Server Assessment</a:t>
            </a:r>
          </a:p>
        </p:txBody>
      </p:sp>
      <p:sp>
        <p:nvSpPr>
          <p:cNvPr id="7" name="Text Placeholder 6">
            <a:extLst>
              <a:ext uri="{FF2B5EF4-FFF2-40B4-BE49-F238E27FC236}">
                <a16:creationId xmlns:a16="http://schemas.microsoft.com/office/drawing/2014/main" id="{24BAE3C1-CF35-4DCC-9ADA-225D40D4581D}"/>
              </a:ext>
            </a:extLst>
          </p:cNvPr>
          <p:cNvSpPr>
            <a:spLocks noGrp="1"/>
          </p:cNvSpPr>
          <p:nvPr>
            <p:ph type="body" sz="quarter" idx="12"/>
          </p:nvPr>
        </p:nvSpPr>
        <p:spPr>
          <a:xfrm>
            <a:off x="4312572" y="3757563"/>
            <a:ext cx="3618381" cy="213007"/>
          </a:xfrm>
        </p:spPr>
        <p:txBody>
          <a:bodyPr/>
          <a:lstStyle/>
          <a:p>
            <a:r>
              <a:rPr lang="en-US" dirty="0"/>
              <a:t>Azure Migrate – Database Assessment</a:t>
            </a:r>
          </a:p>
        </p:txBody>
      </p:sp>
      <p:sp>
        <p:nvSpPr>
          <p:cNvPr id="8" name="Text Placeholder 7">
            <a:extLst>
              <a:ext uri="{FF2B5EF4-FFF2-40B4-BE49-F238E27FC236}">
                <a16:creationId xmlns:a16="http://schemas.microsoft.com/office/drawing/2014/main" id="{8F1C684A-602B-454B-82EE-5AAEEB91DC68}"/>
              </a:ext>
            </a:extLst>
          </p:cNvPr>
          <p:cNvSpPr>
            <a:spLocks noGrp="1"/>
          </p:cNvSpPr>
          <p:nvPr>
            <p:ph type="body" sz="quarter" idx="13"/>
          </p:nvPr>
        </p:nvSpPr>
        <p:spPr>
          <a:xfrm>
            <a:off x="8144083" y="3757563"/>
            <a:ext cx="3618381" cy="213007"/>
          </a:xfrm>
        </p:spPr>
        <p:txBody>
          <a:bodyPr/>
          <a:lstStyle/>
          <a:p>
            <a:r>
              <a:rPr lang="en-US" dirty="0"/>
              <a:t>Azure Migrate – App Services Assessment</a:t>
            </a:r>
          </a:p>
        </p:txBody>
      </p:sp>
      <p:sp>
        <p:nvSpPr>
          <p:cNvPr id="9" name="Text Placeholder 5">
            <a:extLst>
              <a:ext uri="{FF2B5EF4-FFF2-40B4-BE49-F238E27FC236}">
                <a16:creationId xmlns:a16="http://schemas.microsoft.com/office/drawing/2014/main" id="{2825C741-1A5B-4B55-BF0A-23BA0A76F839}"/>
              </a:ext>
            </a:extLst>
          </p:cNvPr>
          <p:cNvSpPr txBox="1">
            <a:spLocks/>
          </p:cNvSpPr>
          <p:nvPr/>
        </p:nvSpPr>
        <p:spPr>
          <a:xfrm>
            <a:off x="450118" y="4403122"/>
            <a:ext cx="3618381" cy="1521057"/>
          </a:xfrm>
          <a:prstGeom prst="rect">
            <a:avLst/>
          </a:prstGeom>
        </p:spPr>
        <p:txBody>
          <a:bodyPr vert="horz" wrap="square" lIns="0" tIns="0" rIns="0" bIns="0" rtlCol="0">
            <a:spAutoFit/>
          </a:bodyPr>
          <a:lstStyle>
            <a:lvl1pPr marL="0" marR="0" indent="0" algn="l" defTabSz="914367" rtl="0" eaLnBrk="1" fontAlgn="auto" latinLnBrk="0" hangingPunct="1">
              <a:lnSpc>
                <a:spcPts val="1765"/>
              </a:lnSpc>
              <a:spcBef>
                <a:spcPts val="0"/>
              </a:spcBef>
              <a:spcAft>
                <a:spcPts val="588"/>
              </a:spcAft>
              <a:buClrTx/>
              <a:buSzPct val="90000"/>
              <a:buFont typeface="Wingdings" panose="05000000000000000000" pitchFamily="2" charset="2"/>
              <a:buNone/>
              <a:tabLst/>
              <a:defRPr sz="1372" b="0" kern="1200" spc="0" baseline="0">
                <a:solidFill>
                  <a:schemeClr val="tx2"/>
                </a:solidFill>
                <a:latin typeface="+mj-lt"/>
                <a:ea typeface="+mn-ea"/>
                <a:cs typeface="+mn-cs"/>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Tx/>
              <a:buChar char="-"/>
            </a:pPr>
            <a:r>
              <a:rPr lang="en-US" dirty="0">
                <a:solidFill>
                  <a:schemeClr val="tx1"/>
                </a:solidFill>
              </a:rPr>
              <a:t>Performs assessment of source VMware environments</a:t>
            </a:r>
          </a:p>
          <a:p>
            <a:pPr marL="285750" indent="-285750">
              <a:buFontTx/>
              <a:buChar char="-"/>
            </a:pPr>
            <a:r>
              <a:rPr lang="en-US" dirty="0">
                <a:solidFill>
                  <a:schemeClr val="tx1"/>
                </a:solidFill>
              </a:rPr>
              <a:t>V2 also supports Hyper-V as source environment (not SCVMM yet)</a:t>
            </a:r>
          </a:p>
          <a:p>
            <a:pPr marL="285750" indent="-285750">
              <a:buFontTx/>
              <a:buChar char="-"/>
            </a:pPr>
            <a:r>
              <a:rPr lang="en-US" dirty="0">
                <a:solidFill>
                  <a:schemeClr val="tx1"/>
                </a:solidFill>
              </a:rPr>
              <a:t>Assessment and Migration from the same dashboard </a:t>
            </a:r>
          </a:p>
        </p:txBody>
      </p:sp>
      <p:sp>
        <p:nvSpPr>
          <p:cNvPr id="10" name="Text Placeholder 6">
            <a:extLst>
              <a:ext uri="{FF2B5EF4-FFF2-40B4-BE49-F238E27FC236}">
                <a16:creationId xmlns:a16="http://schemas.microsoft.com/office/drawing/2014/main" id="{7037F752-8EDC-48EE-97AA-5F7F60DD673B}"/>
              </a:ext>
            </a:extLst>
          </p:cNvPr>
          <p:cNvSpPr txBox="1">
            <a:spLocks/>
          </p:cNvSpPr>
          <p:nvPr/>
        </p:nvSpPr>
        <p:spPr>
          <a:xfrm>
            <a:off x="4312572" y="4403122"/>
            <a:ext cx="3618381" cy="1444113"/>
          </a:xfrm>
          <a:prstGeom prst="rect">
            <a:avLst/>
          </a:prstGeom>
        </p:spPr>
        <p:txBody>
          <a:bodyPr vert="horz" wrap="square" lIns="0" tIns="0" rIns="0" bIns="0" rtlCol="0">
            <a:spAutoFit/>
          </a:bodyPr>
          <a:lstStyle>
            <a:lvl1pPr marL="0" marR="0" indent="0" algn="l" defTabSz="914367" rtl="0" eaLnBrk="1" fontAlgn="auto" latinLnBrk="0" hangingPunct="1">
              <a:lnSpc>
                <a:spcPts val="1765"/>
              </a:lnSpc>
              <a:spcBef>
                <a:spcPts val="0"/>
              </a:spcBef>
              <a:spcAft>
                <a:spcPts val="588"/>
              </a:spcAft>
              <a:buClrTx/>
              <a:buSzPct val="90000"/>
              <a:buFont typeface="Wingdings" panose="05000000000000000000" pitchFamily="2" charset="2"/>
              <a:buNone/>
              <a:tabLst/>
              <a:defRPr sz="1372" b="0" kern="1200" spc="0" baseline="0">
                <a:solidFill>
                  <a:schemeClr val="tx2"/>
                </a:solidFill>
                <a:latin typeface="+mj-lt"/>
                <a:ea typeface="+mn-ea"/>
                <a:cs typeface="+mn-cs"/>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Tx/>
              <a:buChar char="-"/>
            </a:pPr>
            <a:r>
              <a:rPr lang="en-US" dirty="0">
                <a:solidFill>
                  <a:schemeClr val="tx1"/>
                </a:solidFill>
              </a:rPr>
              <a:t>Analyzes source database environments running SQL Server, to assess a migration to Azure SQL PaaS, Azure SQL Managed Instance or Azure SQL VMs</a:t>
            </a:r>
          </a:p>
          <a:p>
            <a:pPr marL="285750" indent="-285750">
              <a:buFontTx/>
              <a:buChar char="-"/>
            </a:pPr>
            <a:r>
              <a:rPr lang="en-US" dirty="0">
                <a:solidFill>
                  <a:schemeClr val="tx1"/>
                </a:solidFill>
              </a:rPr>
              <a:t>Migration can be executed using DMA (Data Migration Assistant)</a:t>
            </a:r>
          </a:p>
        </p:txBody>
      </p:sp>
      <p:sp>
        <p:nvSpPr>
          <p:cNvPr id="11" name="Text Placeholder 7">
            <a:extLst>
              <a:ext uri="{FF2B5EF4-FFF2-40B4-BE49-F238E27FC236}">
                <a16:creationId xmlns:a16="http://schemas.microsoft.com/office/drawing/2014/main" id="{B51EECA9-EF91-4142-9FA9-6A50E7AF526B}"/>
              </a:ext>
            </a:extLst>
          </p:cNvPr>
          <p:cNvSpPr txBox="1">
            <a:spLocks/>
          </p:cNvSpPr>
          <p:nvPr/>
        </p:nvSpPr>
        <p:spPr>
          <a:xfrm>
            <a:off x="8144083" y="4403122"/>
            <a:ext cx="3618381" cy="1982722"/>
          </a:xfrm>
          <a:prstGeom prst="rect">
            <a:avLst/>
          </a:prstGeom>
        </p:spPr>
        <p:txBody>
          <a:bodyPr vert="horz" wrap="square" lIns="0" tIns="0" rIns="0" bIns="0" rtlCol="0">
            <a:spAutoFit/>
          </a:bodyPr>
          <a:lstStyle>
            <a:lvl1pPr marL="0" marR="0" indent="0" algn="l" defTabSz="914367" rtl="0" eaLnBrk="1" fontAlgn="auto" latinLnBrk="0" hangingPunct="1">
              <a:lnSpc>
                <a:spcPts val="1765"/>
              </a:lnSpc>
              <a:spcBef>
                <a:spcPts val="0"/>
              </a:spcBef>
              <a:spcAft>
                <a:spcPts val="588"/>
              </a:spcAft>
              <a:buClrTx/>
              <a:buSzPct val="90000"/>
              <a:buFont typeface="Wingdings" panose="05000000000000000000" pitchFamily="2" charset="2"/>
              <a:buNone/>
              <a:tabLst/>
              <a:defRPr sz="1372" b="0" kern="1200" spc="0" baseline="0">
                <a:solidFill>
                  <a:schemeClr val="tx2"/>
                </a:solidFill>
                <a:latin typeface="+mj-lt"/>
                <a:ea typeface="+mn-ea"/>
                <a:cs typeface="+mn-cs"/>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Tx/>
              <a:buChar char="-"/>
            </a:pPr>
            <a:r>
              <a:rPr lang="en-US" dirty="0">
                <a:solidFill>
                  <a:schemeClr val="tx1"/>
                </a:solidFill>
              </a:rPr>
              <a:t>Performs assessment of life-running web application servers</a:t>
            </a:r>
          </a:p>
          <a:p>
            <a:pPr marL="285750" indent="-285750">
              <a:buFontTx/>
              <a:buChar char="-"/>
            </a:pPr>
            <a:r>
              <a:rPr lang="en-US" dirty="0">
                <a:solidFill>
                  <a:schemeClr val="tx1"/>
                </a:solidFill>
              </a:rPr>
              <a:t>Detects the framework, source language, dependencies and other critical parameters, to make it supported on Azure Web Apps</a:t>
            </a:r>
          </a:p>
          <a:p>
            <a:pPr marL="285750" indent="-285750">
              <a:buFontTx/>
              <a:buChar char="-"/>
            </a:pPr>
            <a:r>
              <a:rPr lang="en-US" dirty="0">
                <a:solidFill>
                  <a:schemeClr val="tx1"/>
                </a:solidFill>
              </a:rPr>
              <a:t>Migration can also be executed from the same toolkit</a:t>
            </a:r>
          </a:p>
        </p:txBody>
      </p:sp>
      <p:pic>
        <p:nvPicPr>
          <p:cNvPr id="13" name="Graphic 12" descr="World">
            <a:extLst>
              <a:ext uri="{FF2B5EF4-FFF2-40B4-BE49-F238E27FC236}">
                <a16:creationId xmlns:a16="http://schemas.microsoft.com/office/drawing/2014/main" id="{C068B522-E18C-42FE-9F18-1A77D0E74F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39565" y="2643237"/>
            <a:ext cx="914400" cy="914400"/>
          </a:xfrm>
          <a:prstGeom prst="rect">
            <a:avLst/>
          </a:prstGeom>
        </p:spPr>
      </p:pic>
      <p:pic>
        <p:nvPicPr>
          <p:cNvPr id="15" name="Graphic 14" descr="Computer">
            <a:extLst>
              <a:ext uri="{FF2B5EF4-FFF2-40B4-BE49-F238E27FC236}">
                <a16:creationId xmlns:a16="http://schemas.microsoft.com/office/drawing/2014/main" id="{F24C6A4A-28AB-49A3-8140-95158D8442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5600" y="2643237"/>
            <a:ext cx="914400" cy="914400"/>
          </a:xfrm>
          <a:prstGeom prst="rect">
            <a:avLst/>
          </a:prstGeom>
        </p:spPr>
      </p:pic>
      <p:pic>
        <p:nvPicPr>
          <p:cNvPr id="17" name="Graphic 16" descr="Checklist">
            <a:extLst>
              <a:ext uri="{FF2B5EF4-FFF2-40B4-BE49-F238E27FC236}">
                <a16:creationId xmlns:a16="http://schemas.microsoft.com/office/drawing/2014/main" id="{F0FD2C91-6705-41A4-B7C8-15FEF431FC4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79331" y="2643237"/>
            <a:ext cx="914400" cy="914400"/>
          </a:xfrm>
          <a:prstGeom prst="rect">
            <a:avLst/>
          </a:prstGeom>
        </p:spPr>
      </p:pic>
    </p:spTree>
    <p:extLst>
      <p:ext uri="{BB962C8B-B14F-4D97-AF65-F5344CB8AC3E}">
        <p14:creationId xmlns:p14="http://schemas.microsoft.com/office/powerpoint/2010/main" val="189075507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CFEC1-6B36-4C83-9E5F-C7FFC5BBFD10}"/>
              </a:ext>
            </a:extLst>
          </p:cNvPr>
          <p:cNvSpPr>
            <a:spLocks noGrp="1"/>
          </p:cNvSpPr>
          <p:nvPr>
            <p:ph type="title"/>
          </p:nvPr>
        </p:nvSpPr>
        <p:spPr>
          <a:xfrm>
            <a:off x="588263" y="457200"/>
            <a:ext cx="11018520" cy="423193"/>
          </a:xfrm>
        </p:spPr>
        <p:txBody>
          <a:bodyPr/>
          <a:lstStyle/>
          <a:p>
            <a:r>
              <a:rPr lang="en-US" sz="2750" dirty="0"/>
              <a:t>Azure Migrate for Discovery and Assessment</a:t>
            </a:r>
          </a:p>
        </p:txBody>
      </p:sp>
      <p:grpSp>
        <p:nvGrpSpPr>
          <p:cNvPr id="3" name="Group 2">
            <a:extLst>
              <a:ext uri="{FF2B5EF4-FFF2-40B4-BE49-F238E27FC236}">
                <a16:creationId xmlns:a16="http://schemas.microsoft.com/office/drawing/2014/main" id="{0D5FC671-BE49-40EE-B715-A11C1F24D6AE}"/>
              </a:ext>
            </a:extLst>
          </p:cNvPr>
          <p:cNvGrpSpPr/>
          <p:nvPr/>
        </p:nvGrpSpPr>
        <p:grpSpPr>
          <a:xfrm>
            <a:off x="321797" y="1913868"/>
            <a:ext cx="2666620" cy="3756734"/>
            <a:chOff x="526115" y="1359235"/>
            <a:chExt cx="3135370" cy="4430380"/>
          </a:xfrm>
        </p:grpSpPr>
        <p:pic>
          <p:nvPicPr>
            <p:cNvPr id="4" name="Picture 3">
              <a:extLst>
                <a:ext uri="{FF2B5EF4-FFF2-40B4-BE49-F238E27FC236}">
                  <a16:creationId xmlns:a16="http://schemas.microsoft.com/office/drawing/2014/main" id="{8140913C-9C0A-4EAE-A310-E52220F716AE}"/>
                </a:ext>
              </a:extLst>
            </p:cNvPr>
            <p:cNvPicPr>
              <a:picLocks noChangeAspect="1"/>
            </p:cNvPicPr>
            <p:nvPr/>
          </p:nvPicPr>
          <p:blipFill>
            <a:blip r:embed="rId2"/>
            <a:stretch>
              <a:fillRect/>
            </a:stretch>
          </p:blipFill>
          <p:spPr>
            <a:xfrm>
              <a:off x="683990" y="1359235"/>
              <a:ext cx="2819621" cy="2706936"/>
            </a:xfrm>
            <a:prstGeom prst="rect">
              <a:avLst/>
            </a:prstGeom>
            <a:ln>
              <a:noFill/>
            </a:ln>
            <a:effectLst>
              <a:outerShdw blurRad="292100" dist="139700" dir="2700000" algn="tl" rotWithShape="0">
                <a:srgbClr val="333333">
                  <a:alpha val="65000"/>
                </a:srgbClr>
              </a:outerShdw>
            </a:effectLst>
          </p:spPr>
        </p:pic>
        <p:sp>
          <p:nvSpPr>
            <p:cNvPr id="5" name="Rectangle 4">
              <a:extLst>
                <a:ext uri="{FF2B5EF4-FFF2-40B4-BE49-F238E27FC236}">
                  <a16:creationId xmlns:a16="http://schemas.microsoft.com/office/drawing/2014/main" id="{411B7B41-7350-4B5B-902C-EF809CA7EFAB}"/>
                </a:ext>
              </a:extLst>
            </p:cNvPr>
            <p:cNvSpPr/>
            <p:nvPr/>
          </p:nvSpPr>
          <p:spPr>
            <a:xfrm>
              <a:off x="526115" y="4809620"/>
              <a:ext cx="3135370" cy="979995"/>
            </a:xfrm>
            <a:prstGeom prst="rect">
              <a:avLst/>
            </a:prstGeom>
            <a:noFill/>
          </p:spPr>
          <p:txBody>
            <a:bodyPr wrap="square" lIns="91427" tIns="45714" rIns="91427" bIns="45714">
              <a:spAutoFit/>
            </a:bodyPr>
            <a:lstStyle/>
            <a:p>
              <a:pPr marL="0" marR="0" lvl="0" indent="0" algn="ctr" defTabSz="93268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w="0"/>
                  <a:solidFill>
                    <a:srgbClr val="00B050"/>
                  </a:solidFill>
                  <a:effectLst/>
                  <a:uLnTx/>
                  <a:uFillTx/>
                  <a:latin typeface="Segoe UI Semilight"/>
                  <a:ea typeface="+mn-ea"/>
                  <a:cs typeface="+mn-cs"/>
                </a:rPr>
                <a:t>Agentless</a:t>
              </a:r>
              <a:r>
                <a:rPr kumimoji="0" lang="en-US" sz="2400" b="0" i="0" u="none" strike="noStrike" kern="1200" cap="none" spc="0" normalizeH="0" baseline="0" noProof="0" dirty="0">
                  <a:ln w="0"/>
                  <a:solidFill>
                    <a:srgbClr val="000000"/>
                  </a:solidFill>
                  <a:effectLst/>
                  <a:uLnTx/>
                  <a:uFillTx/>
                  <a:latin typeface="Segoe UI Semilight"/>
                  <a:ea typeface="+mn-ea"/>
                  <a:cs typeface="+mn-cs"/>
                </a:rPr>
                <a:t> discovery</a:t>
              </a:r>
            </a:p>
          </p:txBody>
        </p:sp>
      </p:grpSp>
      <p:grpSp>
        <p:nvGrpSpPr>
          <p:cNvPr id="6" name="Group 5">
            <a:extLst>
              <a:ext uri="{FF2B5EF4-FFF2-40B4-BE49-F238E27FC236}">
                <a16:creationId xmlns:a16="http://schemas.microsoft.com/office/drawing/2014/main" id="{A34DD801-43ED-4CA2-83DD-35014E103237}"/>
              </a:ext>
            </a:extLst>
          </p:cNvPr>
          <p:cNvGrpSpPr/>
          <p:nvPr/>
        </p:nvGrpSpPr>
        <p:grpSpPr>
          <a:xfrm>
            <a:off x="3101983" y="1913870"/>
            <a:ext cx="2817126" cy="3756731"/>
            <a:chOff x="839851" y="1335448"/>
            <a:chExt cx="3312332" cy="4430379"/>
          </a:xfrm>
        </p:grpSpPr>
        <p:pic>
          <p:nvPicPr>
            <p:cNvPr id="7" name="Picture 6">
              <a:extLst>
                <a:ext uri="{FF2B5EF4-FFF2-40B4-BE49-F238E27FC236}">
                  <a16:creationId xmlns:a16="http://schemas.microsoft.com/office/drawing/2014/main" id="{084CB00F-8F15-41FC-BFB1-BE15FCCB7B69}"/>
                </a:ext>
              </a:extLst>
            </p:cNvPr>
            <p:cNvPicPr>
              <a:picLocks noChangeAspect="1"/>
            </p:cNvPicPr>
            <p:nvPr/>
          </p:nvPicPr>
          <p:blipFill>
            <a:blip r:embed="rId3"/>
            <a:stretch>
              <a:fillRect/>
            </a:stretch>
          </p:blipFill>
          <p:spPr>
            <a:xfrm>
              <a:off x="839851" y="1335448"/>
              <a:ext cx="3312332" cy="2706935"/>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F5FEEBC5-8405-46D8-B7C6-571ADA16BCC3}"/>
                </a:ext>
              </a:extLst>
            </p:cNvPr>
            <p:cNvSpPr/>
            <p:nvPr/>
          </p:nvSpPr>
          <p:spPr>
            <a:xfrm>
              <a:off x="839851" y="4785832"/>
              <a:ext cx="3135369" cy="979995"/>
            </a:xfrm>
            <a:prstGeom prst="rect">
              <a:avLst/>
            </a:prstGeom>
            <a:noFill/>
          </p:spPr>
          <p:txBody>
            <a:bodyPr wrap="square" lIns="91427" tIns="45714" rIns="91427" bIns="45714">
              <a:spAutoFit/>
            </a:bodyPr>
            <a:lstStyle/>
            <a:p>
              <a:pPr marL="0" marR="0" lvl="0" indent="0" algn="ctr" defTabSz="93268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w="0"/>
                  <a:solidFill>
                    <a:srgbClr val="00B050"/>
                  </a:solidFill>
                  <a:effectLst/>
                  <a:uLnTx/>
                  <a:uFillTx/>
                  <a:latin typeface="Segoe UI Semilight"/>
                  <a:ea typeface="+mn-ea"/>
                  <a:cs typeface="+mn-cs"/>
                </a:rPr>
                <a:t>TCO</a:t>
              </a:r>
              <a:r>
                <a:rPr kumimoji="0" lang="en-US" sz="2400" b="0" i="0" u="none" strike="noStrike" kern="1200" cap="none" spc="0" normalizeH="0" baseline="0" noProof="0" dirty="0">
                  <a:ln w="0"/>
                  <a:solidFill>
                    <a:srgbClr val="000000"/>
                  </a:solidFill>
                  <a:effectLst/>
                  <a:uLnTx/>
                  <a:uFillTx/>
                  <a:latin typeface="Segoe UI Semilight"/>
                  <a:ea typeface="+mn-ea"/>
                  <a:cs typeface="+mn-cs"/>
                </a:rPr>
                <a:t> </a:t>
              </a:r>
              <a:br>
                <a:rPr kumimoji="0" lang="en-US" sz="2400" b="0" i="0" u="none" strike="noStrike" kern="1200" cap="none" spc="0" normalizeH="0" baseline="0" noProof="0" dirty="0">
                  <a:ln w="0"/>
                  <a:solidFill>
                    <a:srgbClr val="000000"/>
                  </a:solidFill>
                  <a:effectLst/>
                  <a:uLnTx/>
                  <a:uFillTx/>
                  <a:latin typeface="Segoe UI Semilight"/>
                  <a:ea typeface="+mn-ea"/>
                  <a:cs typeface="+mn-cs"/>
                </a:rPr>
              </a:br>
              <a:r>
                <a:rPr kumimoji="0" lang="en-US" sz="2400" b="0" i="0" u="none" strike="noStrike" kern="1200" cap="none" spc="0" normalizeH="0" baseline="0" noProof="0" dirty="0">
                  <a:ln w="0"/>
                  <a:solidFill>
                    <a:srgbClr val="000000"/>
                  </a:solidFill>
                  <a:effectLst/>
                  <a:uLnTx/>
                  <a:uFillTx/>
                  <a:latin typeface="Segoe UI Semilight"/>
                  <a:ea typeface="+mn-ea"/>
                  <a:cs typeface="+mn-cs"/>
                </a:rPr>
                <a:t>calculation</a:t>
              </a:r>
            </a:p>
          </p:txBody>
        </p:sp>
      </p:grpSp>
      <p:grpSp>
        <p:nvGrpSpPr>
          <p:cNvPr id="12" name="Group 11">
            <a:extLst>
              <a:ext uri="{FF2B5EF4-FFF2-40B4-BE49-F238E27FC236}">
                <a16:creationId xmlns:a16="http://schemas.microsoft.com/office/drawing/2014/main" id="{20E05DCD-624D-458D-875D-2D64B5BBD60F}"/>
              </a:ext>
            </a:extLst>
          </p:cNvPr>
          <p:cNvGrpSpPr/>
          <p:nvPr/>
        </p:nvGrpSpPr>
        <p:grpSpPr>
          <a:xfrm>
            <a:off x="5616385" y="1913868"/>
            <a:ext cx="4009073" cy="3756731"/>
            <a:chOff x="-2874289" y="1343366"/>
            <a:chExt cx="4713804" cy="4430378"/>
          </a:xfrm>
        </p:grpSpPr>
        <p:pic>
          <p:nvPicPr>
            <p:cNvPr id="13" name="Picture 12">
              <a:extLst>
                <a:ext uri="{FF2B5EF4-FFF2-40B4-BE49-F238E27FC236}">
                  <a16:creationId xmlns:a16="http://schemas.microsoft.com/office/drawing/2014/main" id="{A8AF0D00-B772-43D2-B49D-18FA7CD40664}"/>
                </a:ext>
              </a:extLst>
            </p:cNvPr>
            <p:cNvPicPr>
              <a:picLocks noChangeAspect="1"/>
            </p:cNvPicPr>
            <p:nvPr/>
          </p:nvPicPr>
          <p:blipFill>
            <a:blip r:embed="rId4"/>
            <a:stretch>
              <a:fillRect/>
            </a:stretch>
          </p:blipFill>
          <p:spPr>
            <a:xfrm>
              <a:off x="-2226719" y="1343366"/>
              <a:ext cx="3894257" cy="2706935"/>
            </a:xfrm>
            <a:prstGeom prst="rect">
              <a:avLst/>
            </a:prstGeom>
            <a:ln>
              <a:noFill/>
            </a:ln>
            <a:effectLst>
              <a:outerShdw blurRad="292100" dist="139700" dir="2700000" algn="tl" rotWithShape="0">
                <a:srgbClr val="333333">
                  <a:alpha val="65000"/>
                </a:srgbClr>
              </a:outerShdw>
            </a:effectLst>
          </p:spPr>
        </p:pic>
        <p:sp>
          <p:nvSpPr>
            <p:cNvPr id="14" name="Rectangle 13">
              <a:extLst>
                <a:ext uri="{FF2B5EF4-FFF2-40B4-BE49-F238E27FC236}">
                  <a16:creationId xmlns:a16="http://schemas.microsoft.com/office/drawing/2014/main" id="{65A6202C-BB75-446B-A89F-BE77C2DB293E}"/>
                </a:ext>
              </a:extLst>
            </p:cNvPr>
            <p:cNvSpPr/>
            <p:nvPr/>
          </p:nvSpPr>
          <p:spPr>
            <a:xfrm>
              <a:off x="-2874289" y="4793749"/>
              <a:ext cx="4713804" cy="979995"/>
            </a:xfrm>
            <a:prstGeom prst="rect">
              <a:avLst/>
            </a:prstGeom>
            <a:noFill/>
          </p:spPr>
          <p:txBody>
            <a:bodyPr wrap="square" lIns="91427" tIns="45714" rIns="91427" bIns="45714">
              <a:spAutoFit/>
            </a:bodyPr>
            <a:lstStyle/>
            <a:p>
              <a:pPr marL="0" marR="0" lvl="0" indent="0" algn="ctr" defTabSz="93268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w="0"/>
                  <a:solidFill>
                    <a:srgbClr val="00B050"/>
                  </a:solidFill>
                  <a:effectLst/>
                  <a:uLnTx/>
                  <a:uFillTx/>
                  <a:latin typeface="Segoe UI Semilight"/>
                  <a:ea typeface="+mn-ea"/>
                  <a:cs typeface="+mn-cs"/>
                </a:rPr>
                <a:t>Right-sized </a:t>
              </a:r>
              <a:br>
                <a:rPr kumimoji="0" lang="en-US" sz="2400" b="0" i="0" u="none" strike="noStrike" kern="1200" cap="none" spc="0" normalizeH="0" baseline="0" noProof="0" dirty="0">
                  <a:ln w="0"/>
                  <a:solidFill>
                    <a:srgbClr val="00B050"/>
                  </a:solidFill>
                  <a:effectLst/>
                  <a:uLnTx/>
                  <a:uFillTx/>
                  <a:latin typeface="Segoe UI Semilight"/>
                  <a:ea typeface="+mn-ea"/>
                  <a:cs typeface="+mn-cs"/>
                </a:rPr>
              </a:br>
              <a:r>
                <a:rPr kumimoji="0" lang="en-US" sz="2400" b="0" i="0" u="none" strike="noStrike" kern="1200" cap="none" spc="0" normalizeH="0" baseline="0" noProof="0" dirty="0">
                  <a:ln w="0"/>
                  <a:solidFill>
                    <a:srgbClr val="000000"/>
                  </a:solidFill>
                  <a:effectLst/>
                  <a:uLnTx/>
                  <a:uFillTx/>
                  <a:latin typeface="Segoe UI Semilight"/>
                  <a:ea typeface="+mn-ea"/>
                  <a:cs typeface="+mn-cs"/>
                </a:rPr>
                <a:t>and</a:t>
              </a:r>
              <a:r>
                <a:rPr kumimoji="0" lang="en-US" sz="2400" b="0" i="0" u="none" strike="noStrike" kern="1200" cap="none" spc="0" normalizeH="0" baseline="0" noProof="0" dirty="0">
                  <a:ln w="0"/>
                  <a:solidFill>
                    <a:srgbClr val="00B050"/>
                  </a:solidFill>
                  <a:effectLst/>
                  <a:uLnTx/>
                  <a:uFillTx/>
                  <a:latin typeface="Segoe UI Semilight"/>
                  <a:ea typeface="+mn-ea"/>
                  <a:cs typeface="+mn-cs"/>
                </a:rPr>
                <a:t> </a:t>
              </a:r>
              <a:r>
                <a:rPr kumimoji="0" lang="en-US" sz="2400" b="0" i="0" u="none" strike="noStrike" kern="1200" cap="none" spc="0" normalizeH="0" baseline="0" noProof="0" dirty="0">
                  <a:ln w="0"/>
                  <a:solidFill>
                    <a:srgbClr val="000000"/>
                  </a:solidFill>
                  <a:effectLst/>
                  <a:uLnTx/>
                  <a:uFillTx/>
                  <a:latin typeface="Segoe UI Semilight"/>
                  <a:ea typeface="+mn-ea"/>
                  <a:cs typeface="+mn-cs"/>
                </a:rPr>
                <a:t>suitability</a:t>
              </a:r>
            </a:p>
          </p:txBody>
        </p:sp>
      </p:grpSp>
      <p:grpSp>
        <p:nvGrpSpPr>
          <p:cNvPr id="16" name="Group 15">
            <a:extLst>
              <a:ext uri="{FF2B5EF4-FFF2-40B4-BE49-F238E27FC236}">
                <a16:creationId xmlns:a16="http://schemas.microsoft.com/office/drawing/2014/main" id="{1D835F6E-BDB3-4D52-8700-3DCAD5DBB7AA}"/>
              </a:ext>
            </a:extLst>
          </p:cNvPr>
          <p:cNvGrpSpPr/>
          <p:nvPr/>
        </p:nvGrpSpPr>
        <p:grpSpPr>
          <a:xfrm>
            <a:off x="9473238" y="1913868"/>
            <a:ext cx="2666620" cy="3756729"/>
            <a:chOff x="667191" y="1359235"/>
            <a:chExt cx="3135370" cy="4430376"/>
          </a:xfrm>
        </p:grpSpPr>
        <p:pic>
          <p:nvPicPr>
            <p:cNvPr id="17" name="Picture 16">
              <a:extLst>
                <a:ext uri="{FF2B5EF4-FFF2-40B4-BE49-F238E27FC236}">
                  <a16:creationId xmlns:a16="http://schemas.microsoft.com/office/drawing/2014/main" id="{CCA66F8C-064B-4831-B1C6-D02CB729C1F7}"/>
                </a:ext>
              </a:extLst>
            </p:cNvPr>
            <p:cNvPicPr>
              <a:picLocks noChangeAspect="1"/>
            </p:cNvPicPr>
            <p:nvPr/>
          </p:nvPicPr>
          <p:blipFill>
            <a:blip r:embed="rId5"/>
            <a:stretch>
              <a:fillRect/>
            </a:stretch>
          </p:blipFill>
          <p:spPr>
            <a:xfrm>
              <a:off x="961899" y="1359235"/>
              <a:ext cx="2545955" cy="2706935"/>
            </a:xfrm>
            <a:prstGeom prst="rect">
              <a:avLst/>
            </a:prstGeom>
            <a:ln>
              <a:noFill/>
            </a:ln>
            <a:effectLst>
              <a:outerShdw blurRad="292100" dist="139700" dir="2700000" algn="tl" rotWithShape="0">
                <a:srgbClr val="333333">
                  <a:alpha val="65000"/>
                </a:srgbClr>
              </a:outerShdw>
            </a:effectLst>
          </p:spPr>
        </p:pic>
        <p:sp>
          <p:nvSpPr>
            <p:cNvPr id="18" name="Rectangle 17">
              <a:extLst>
                <a:ext uri="{FF2B5EF4-FFF2-40B4-BE49-F238E27FC236}">
                  <a16:creationId xmlns:a16="http://schemas.microsoft.com/office/drawing/2014/main" id="{16894F46-F8FC-4B03-B1E7-927BC9D07D8C}"/>
                </a:ext>
              </a:extLst>
            </p:cNvPr>
            <p:cNvSpPr/>
            <p:nvPr/>
          </p:nvSpPr>
          <p:spPr>
            <a:xfrm>
              <a:off x="667191" y="4809616"/>
              <a:ext cx="3135370" cy="979995"/>
            </a:xfrm>
            <a:prstGeom prst="rect">
              <a:avLst/>
            </a:prstGeom>
            <a:noFill/>
          </p:spPr>
          <p:txBody>
            <a:bodyPr wrap="square" lIns="91427" tIns="45714" rIns="91427" bIns="45714">
              <a:spAutoFit/>
            </a:bodyPr>
            <a:lstStyle/>
            <a:p>
              <a:pPr marL="0" marR="0" lvl="0" indent="0" algn="ctr" defTabSz="93268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w="0"/>
                  <a:solidFill>
                    <a:srgbClr val="00B050"/>
                  </a:solidFill>
                  <a:effectLst/>
                  <a:uLnTx/>
                  <a:uFillTx/>
                  <a:latin typeface="Segoe UI Semilight"/>
                  <a:ea typeface="+mn-ea"/>
                  <a:cs typeface="+mn-cs"/>
                </a:rPr>
                <a:t>Azure </a:t>
              </a:r>
              <a:br>
                <a:rPr kumimoji="0" lang="en-US" sz="2400" b="0" i="0" u="none" strike="noStrike" kern="1200" cap="none" spc="0" normalizeH="0" baseline="0" noProof="0" dirty="0">
                  <a:ln w="0"/>
                  <a:solidFill>
                    <a:srgbClr val="00B050"/>
                  </a:solidFill>
                  <a:effectLst/>
                  <a:uLnTx/>
                  <a:uFillTx/>
                  <a:latin typeface="Segoe UI Semilight"/>
                  <a:ea typeface="+mn-ea"/>
                  <a:cs typeface="+mn-cs"/>
                </a:rPr>
              </a:br>
              <a:r>
                <a:rPr lang="en-US" sz="2400" dirty="0">
                  <a:ln w="0"/>
                  <a:solidFill>
                    <a:srgbClr val="000000"/>
                  </a:solidFill>
                  <a:latin typeface="Segoe UI Semilight"/>
                </a:rPr>
                <a:t>target p</a:t>
              </a:r>
              <a:r>
                <a:rPr kumimoji="0" lang="en-US" sz="2400" b="0" i="0" u="none" strike="noStrike" kern="1200" cap="none" spc="0" normalizeH="0" baseline="0" noProof="0" dirty="0" err="1">
                  <a:ln w="0"/>
                  <a:solidFill>
                    <a:srgbClr val="000000"/>
                  </a:solidFill>
                  <a:effectLst/>
                  <a:uLnTx/>
                  <a:uFillTx/>
                  <a:latin typeface="Segoe UI Semilight"/>
                  <a:ea typeface="+mn-ea"/>
                  <a:cs typeface="+mn-cs"/>
                </a:rPr>
                <a:t>latform</a:t>
              </a:r>
              <a:endParaRPr kumimoji="0" lang="en-US" sz="2400" b="0" i="0" u="none" strike="noStrike" kern="1200" cap="none" spc="0" normalizeH="0" baseline="0" noProof="0" dirty="0">
                <a:ln w="0"/>
                <a:solidFill>
                  <a:srgbClr val="000000"/>
                </a:solidFill>
                <a:effectLst/>
                <a:uLnTx/>
                <a:uFillTx/>
                <a:latin typeface="Segoe UI Semilight"/>
                <a:ea typeface="+mn-ea"/>
                <a:cs typeface="+mn-cs"/>
              </a:endParaRPr>
            </a:p>
          </p:txBody>
        </p:sp>
      </p:grpSp>
    </p:spTree>
    <p:extLst>
      <p:ext uri="{BB962C8B-B14F-4D97-AF65-F5344CB8AC3E}">
        <p14:creationId xmlns:p14="http://schemas.microsoft.com/office/powerpoint/2010/main" val="3014044191"/>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588263" y="457200"/>
            <a:ext cx="11018520" cy="846386"/>
          </a:xfrm>
        </p:spPr>
        <p:txBody>
          <a:bodyPr/>
          <a:lstStyle/>
          <a:p>
            <a:r>
              <a:rPr lang="en-US" sz="2750" dirty="0"/>
              <a:t>Azure Migrate – Process flow for VMware hosts</a:t>
            </a:r>
            <a:br>
              <a:rPr lang="en-US" sz="2750" dirty="0"/>
            </a:br>
            <a:endParaRPr lang="en-US" sz="2750" dirty="0"/>
          </a:p>
        </p:txBody>
      </p:sp>
      <p:grpSp>
        <p:nvGrpSpPr>
          <p:cNvPr id="16" name="Group 15">
            <a:extLst>
              <a:ext uri="{FF2B5EF4-FFF2-40B4-BE49-F238E27FC236}">
                <a16:creationId xmlns:a16="http://schemas.microsoft.com/office/drawing/2014/main" id="{F668B013-C7E1-4C3B-BAF9-92CFB013DD29}"/>
              </a:ext>
            </a:extLst>
          </p:cNvPr>
          <p:cNvGrpSpPr/>
          <p:nvPr/>
        </p:nvGrpSpPr>
        <p:grpSpPr>
          <a:xfrm>
            <a:off x="771611" y="4212505"/>
            <a:ext cx="2044262" cy="2636112"/>
            <a:chOff x="770837" y="3799189"/>
            <a:chExt cx="2044552" cy="2636485"/>
          </a:xfrm>
        </p:grpSpPr>
        <p:grpSp>
          <p:nvGrpSpPr>
            <p:cNvPr id="18" name="Group 17">
              <a:extLst>
                <a:ext uri="{FF2B5EF4-FFF2-40B4-BE49-F238E27FC236}">
                  <a16:creationId xmlns:a16="http://schemas.microsoft.com/office/drawing/2014/main" id="{55D41332-5E0B-40B3-8CA6-5D07111D7962}"/>
                </a:ext>
              </a:extLst>
            </p:cNvPr>
            <p:cNvGrpSpPr/>
            <p:nvPr/>
          </p:nvGrpSpPr>
          <p:grpSpPr>
            <a:xfrm>
              <a:off x="770839" y="3799189"/>
              <a:ext cx="2044550" cy="2328859"/>
              <a:chOff x="1152482" y="4223800"/>
              <a:chExt cx="2044550" cy="2328859"/>
            </a:xfrm>
          </p:grpSpPr>
          <p:pic>
            <p:nvPicPr>
              <p:cNvPr id="23" name="Picture 22">
                <a:extLst>
                  <a:ext uri="{FF2B5EF4-FFF2-40B4-BE49-F238E27FC236}">
                    <a16:creationId xmlns:a16="http://schemas.microsoft.com/office/drawing/2014/main" id="{1ABCE9D5-E77D-402E-8995-2EC6323F0CE7}"/>
                  </a:ext>
                </a:extLst>
              </p:cNvPr>
              <p:cNvPicPr>
                <a:picLocks noChangeAspect="1"/>
              </p:cNvPicPr>
              <p:nvPr/>
            </p:nvPicPr>
            <p:blipFill>
              <a:blip r:embed="rId3"/>
              <a:stretch>
                <a:fillRect/>
              </a:stretch>
            </p:blipFill>
            <p:spPr>
              <a:xfrm>
                <a:off x="1152483" y="5363468"/>
                <a:ext cx="331361" cy="1189191"/>
              </a:xfrm>
              <a:prstGeom prst="rect">
                <a:avLst/>
              </a:prstGeom>
            </p:spPr>
          </p:pic>
          <p:pic>
            <p:nvPicPr>
              <p:cNvPr id="25" name="Picture 24">
                <a:extLst>
                  <a:ext uri="{FF2B5EF4-FFF2-40B4-BE49-F238E27FC236}">
                    <a16:creationId xmlns:a16="http://schemas.microsoft.com/office/drawing/2014/main" id="{DF490BEC-AA9A-4AB1-82ED-559F66FF34D1}"/>
                  </a:ext>
                </a:extLst>
              </p:cNvPr>
              <p:cNvPicPr>
                <a:picLocks noChangeAspect="1"/>
              </p:cNvPicPr>
              <p:nvPr/>
            </p:nvPicPr>
            <p:blipFill>
              <a:blip r:embed="rId4"/>
              <a:stretch>
                <a:fillRect/>
              </a:stretch>
            </p:blipFill>
            <p:spPr>
              <a:xfrm>
                <a:off x="1507953" y="6281944"/>
                <a:ext cx="238967" cy="232330"/>
              </a:xfrm>
              <a:prstGeom prst="rect">
                <a:avLst/>
              </a:prstGeom>
            </p:spPr>
          </p:pic>
          <p:pic>
            <p:nvPicPr>
              <p:cNvPr id="26" name="Picture 25">
                <a:extLst>
                  <a:ext uri="{FF2B5EF4-FFF2-40B4-BE49-F238E27FC236}">
                    <a16:creationId xmlns:a16="http://schemas.microsoft.com/office/drawing/2014/main" id="{4D066300-B57A-47D9-A4E7-67F706A04D80}"/>
                  </a:ext>
                </a:extLst>
              </p:cNvPr>
              <p:cNvPicPr>
                <a:picLocks noChangeAspect="1"/>
              </p:cNvPicPr>
              <p:nvPr/>
            </p:nvPicPr>
            <p:blipFill>
              <a:blip r:embed="rId4"/>
              <a:stretch>
                <a:fillRect/>
              </a:stretch>
            </p:blipFill>
            <p:spPr>
              <a:xfrm>
                <a:off x="1513218" y="5987965"/>
                <a:ext cx="238967" cy="232330"/>
              </a:xfrm>
              <a:prstGeom prst="rect">
                <a:avLst/>
              </a:prstGeom>
            </p:spPr>
          </p:pic>
          <p:pic>
            <p:nvPicPr>
              <p:cNvPr id="27" name="Picture 26">
                <a:extLst>
                  <a:ext uri="{FF2B5EF4-FFF2-40B4-BE49-F238E27FC236}">
                    <a16:creationId xmlns:a16="http://schemas.microsoft.com/office/drawing/2014/main" id="{229543E2-CA8E-4ACC-8695-4BFE80E30990}"/>
                  </a:ext>
                </a:extLst>
              </p:cNvPr>
              <p:cNvPicPr>
                <a:picLocks noChangeAspect="1"/>
              </p:cNvPicPr>
              <p:nvPr/>
            </p:nvPicPr>
            <p:blipFill>
              <a:blip r:embed="rId4"/>
              <a:stretch>
                <a:fillRect/>
              </a:stretch>
            </p:blipFill>
            <p:spPr>
              <a:xfrm>
                <a:off x="1516085" y="5700203"/>
                <a:ext cx="238967" cy="232330"/>
              </a:xfrm>
              <a:prstGeom prst="rect">
                <a:avLst/>
              </a:prstGeom>
            </p:spPr>
          </p:pic>
          <p:pic>
            <p:nvPicPr>
              <p:cNvPr id="28" name="Picture 27">
                <a:extLst>
                  <a:ext uri="{FF2B5EF4-FFF2-40B4-BE49-F238E27FC236}">
                    <a16:creationId xmlns:a16="http://schemas.microsoft.com/office/drawing/2014/main" id="{24544DCA-4645-4840-93FB-8A1499B8929C}"/>
                  </a:ext>
                </a:extLst>
              </p:cNvPr>
              <p:cNvPicPr>
                <a:picLocks noChangeAspect="1"/>
              </p:cNvPicPr>
              <p:nvPr/>
            </p:nvPicPr>
            <p:blipFill>
              <a:blip r:embed="rId4"/>
              <a:stretch>
                <a:fillRect/>
              </a:stretch>
            </p:blipFill>
            <p:spPr>
              <a:xfrm>
                <a:off x="1517975" y="5403573"/>
                <a:ext cx="238967" cy="232330"/>
              </a:xfrm>
              <a:prstGeom prst="rect">
                <a:avLst/>
              </a:prstGeom>
            </p:spPr>
          </p:pic>
          <p:sp>
            <p:nvSpPr>
              <p:cNvPr id="29" name="TextBox 28">
                <a:extLst>
                  <a:ext uri="{FF2B5EF4-FFF2-40B4-BE49-F238E27FC236}">
                    <a16:creationId xmlns:a16="http://schemas.microsoft.com/office/drawing/2014/main" id="{4D196832-93C2-48D2-BC89-740B91346C8D}"/>
                  </a:ext>
                </a:extLst>
              </p:cNvPr>
              <p:cNvSpPr txBox="1"/>
              <p:nvPr/>
            </p:nvSpPr>
            <p:spPr>
              <a:xfrm>
                <a:off x="1328301" y="4408341"/>
                <a:ext cx="841448" cy="523294"/>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vCenter Server</a:t>
                </a:r>
              </a:p>
            </p:txBody>
          </p:sp>
          <p:sp>
            <p:nvSpPr>
              <p:cNvPr id="30" name="Freeform 5">
                <a:extLst>
                  <a:ext uri="{FF2B5EF4-FFF2-40B4-BE49-F238E27FC236}">
                    <a16:creationId xmlns:a16="http://schemas.microsoft.com/office/drawing/2014/main" id="{5D541CC5-C98A-4A7A-AE73-571B0295B051}"/>
                  </a:ext>
                </a:extLst>
              </p:cNvPr>
              <p:cNvSpPr>
                <a:spLocks noChangeAspect="1" noEditPoints="1"/>
              </p:cNvSpPr>
              <p:nvPr/>
            </p:nvSpPr>
            <p:spPr bwMode="auto">
              <a:xfrm>
                <a:off x="2070479" y="4223800"/>
                <a:ext cx="294297" cy="609953"/>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rgbClr val="0070C0"/>
              </a:solidFill>
              <a:ln>
                <a:noFill/>
              </a:ln>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p:txBody>
          </p:sp>
          <p:pic>
            <p:nvPicPr>
              <p:cNvPr id="31" name="Picture 30">
                <a:extLst>
                  <a:ext uri="{FF2B5EF4-FFF2-40B4-BE49-F238E27FC236}">
                    <a16:creationId xmlns:a16="http://schemas.microsoft.com/office/drawing/2014/main" id="{5FD5BBAB-FFC9-43A4-921E-EF61D4AFEF06}"/>
                  </a:ext>
                </a:extLst>
              </p:cNvPr>
              <p:cNvPicPr>
                <a:picLocks noChangeAspect="1"/>
              </p:cNvPicPr>
              <p:nvPr/>
            </p:nvPicPr>
            <p:blipFill>
              <a:blip r:embed="rId3"/>
              <a:stretch>
                <a:fillRect/>
              </a:stretch>
            </p:blipFill>
            <p:spPr>
              <a:xfrm>
                <a:off x="1854026" y="5354463"/>
                <a:ext cx="331361" cy="1189191"/>
              </a:xfrm>
              <a:prstGeom prst="rect">
                <a:avLst/>
              </a:prstGeom>
            </p:spPr>
          </p:pic>
          <p:pic>
            <p:nvPicPr>
              <p:cNvPr id="32" name="Picture 31">
                <a:extLst>
                  <a:ext uri="{FF2B5EF4-FFF2-40B4-BE49-F238E27FC236}">
                    <a16:creationId xmlns:a16="http://schemas.microsoft.com/office/drawing/2014/main" id="{89EA02A3-8332-4FBA-90D8-99587C8E7B98}"/>
                  </a:ext>
                </a:extLst>
              </p:cNvPr>
              <p:cNvPicPr>
                <a:picLocks noChangeAspect="1"/>
              </p:cNvPicPr>
              <p:nvPr/>
            </p:nvPicPr>
            <p:blipFill>
              <a:blip r:embed="rId4"/>
              <a:stretch>
                <a:fillRect/>
              </a:stretch>
            </p:blipFill>
            <p:spPr>
              <a:xfrm>
                <a:off x="2209497" y="6272939"/>
                <a:ext cx="238967" cy="232330"/>
              </a:xfrm>
              <a:prstGeom prst="rect">
                <a:avLst/>
              </a:prstGeom>
            </p:spPr>
          </p:pic>
          <p:pic>
            <p:nvPicPr>
              <p:cNvPr id="33" name="Picture 32">
                <a:extLst>
                  <a:ext uri="{FF2B5EF4-FFF2-40B4-BE49-F238E27FC236}">
                    <a16:creationId xmlns:a16="http://schemas.microsoft.com/office/drawing/2014/main" id="{6412010F-6A7F-4D1A-9126-BAB87FCA767D}"/>
                  </a:ext>
                </a:extLst>
              </p:cNvPr>
              <p:cNvPicPr>
                <a:picLocks noChangeAspect="1"/>
              </p:cNvPicPr>
              <p:nvPr/>
            </p:nvPicPr>
            <p:blipFill>
              <a:blip r:embed="rId4"/>
              <a:stretch>
                <a:fillRect/>
              </a:stretch>
            </p:blipFill>
            <p:spPr>
              <a:xfrm>
                <a:off x="2214761" y="5978960"/>
                <a:ext cx="238967" cy="232330"/>
              </a:xfrm>
              <a:prstGeom prst="rect">
                <a:avLst/>
              </a:prstGeom>
            </p:spPr>
          </p:pic>
          <p:pic>
            <p:nvPicPr>
              <p:cNvPr id="34" name="Picture 33">
                <a:extLst>
                  <a:ext uri="{FF2B5EF4-FFF2-40B4-BE49-F238E27FC236}">
                    <a16:creationId xmlns:a16="http://schemas.microsoft.com/office/drawing/2014/main" id="{666693D0-9D6F-434C-A031-CAEAD65AB540}"/>
                  </a:ext>
                </a:extLst>
              </p:cNvPr>
              <p:cNvPicPr>
                <a:picLocks noChangeAspect="1"/>
              </p:cNvPicPr>
              <p:nvPr/>
            </p:nvPicPr>
            <p:blipFill>
              <a:blip r:embed="rId4"/>
              <a:stretch>
                <a:fillRect/>
              </a:stretch>
            </p:blipFill>
            <p:spPr>
              <a:xfrm>
                <a:off x="2217628" y="5691198"/>
                <a:ext cx="238967" cy="232330"/>
              </a:xfrm>
              <a:prstGeom prst="rect">
                <a:avLst/>
              </a:prstGeom>
            </p:spPr>
          </p:pic>
          <p:pic>
            <p:nvPicPr>
              <p:cNvPr id="35" name="Picture 34">
                <a:extLst>
                  <a:ext uri="{FF2B5EF4-FFF2-40B4-BE49-F238E27FC236}">
                    <a16:creationId xmlns:a16="http://schemas.microsoft.com/office/drawing/2014/main" id="{27663884-891F-4486-89D7-58BA67B411A3}"/>
                  </a:ext>
                </a:extLst>
              </p:cNvPr>
              <p:cNvPicPr>
                <a:picLocks noChangeAspect="1"/>
              </p:cNvPicPr>
              <p:nvPr/>
            </p:nvPicPr>
            <p:blipFill>
              <a:blip r:embed="rId4"/>
              <a:stretch>
                <a:fillRect/>
              </a:stretch>
            </p:blipFill>
            <p:spPr>
              <a:xfrm>
                <a:off x="2219518" y="5394568"/>
                <a:ext cx="238967" cy="232330"/>
              </a:xfrm>
              <a:prstGeom prst="rect">
                <a:avLst/>
              </a:prstGeom>
            </p:spPr>
          </p:pic>
          <p:pic>
            <p:nvPicPr>
              <p:cNvPr id="36" name="Picture 35">
                <a:extLst>
                  <a:ext uri="{FF2B5EF4-FFF2-40B4-BE49-F238E27FC236}">
                    <a16:creationId xmlns:a16="http://schemas.microsoft.com/office/drawing/2014/main" id="{7A3F9180-D5F5-4385-AE98-418381FBB589}"/>
                  </a:ext>
                </a:extLst>
              </p:cNvPr>
              <p:cNvPicPr>
                <a:picLocks noChangeAspect="1"/>
              </p:cNvPicPr>
              <p:nvPr/>
            </p:nvPicPr>
            <p:blipFill>
              <a:blip r:embed="rId3"/>
              <a:stretch>
                <a:fillRect/>
              </a:stretch>
            </p:blipFill>
            <p:spPr>
              <a:xfrm>
                <a:off x="2592572" y="5350885"/>
                <a:ext cx="331361" cy="1189191"/>
              </a:xfrm>
              <a:prstGeom prst="rect">
                <a:avLst/>
              </a:prstGeom>
            </p:spPr>
          </p:pic>
          <p:pic>
            <p:nvPicPr>
              <p:cNvPr id="37" name="Picture 36">
                <a:extLst>
                  <a:ext uri="{FF2B5EF4-FFF2-40B4-BE49-F238E27FC236}">
                    <a16:creationId xmlns:a16="http://schemas.microsoft.com/office/drawing/2014/main" id="{93C15382-1826-492E-82EA-5042483270E9}"/>
                  </a:ext>
                </a:extLst>
              </p:cNvPr>
              <p:cNvPicPr>
                <a:picLocks noChangeAspect="1"/>
              </p:cNvPicPr>
              <p:nvPr/>
            </p:nvPicPr>
            <p:blipFill>
              <a:blip r:embed="rId4"/>
              <a:stretch>
                <a:fillRect/>
              </a:stretch>
            </p:blipFill>
            <p:spPr>
              <a:xfrm>
                <a:off x="2948043" y="6269360"/>
                <a:ext cx="238967" cy="232330"/>
              </a:xfrm>
              <a:prstGeom prst="rect">
                <a:avLst/>
              </a:prstGeom>
            </p:spPr>
          </p:pic>
          <p:pic>
            <p:nvPicPr>
              <p:cNvPr id="38" name="Picture 37">
                <a:extLst>
                  <a:ext uri="{FF2B5EF4-FFF2-40B4-BE49-F238E27FC236}">
                    <a16:creationId xmlns:a16="http://schemas.microsoft.com/office/drawing/2014/main" id="{D7198B38-775C-4F82-B8D2-DEF00AE8E4A7}"/>
                  </a:ext>
                </a:extLst>
              </p:cNvPr>
              <p:cNvPicPr>
                <a:picLocks noChangeAspect="1"/>
              </p:cNvPicPr>
              <p:nvPr/>
            </p:nvPicPr>
            <p:blipFill>
              <a:blip r:embed="rId4"/>
              <a:stretch>
                <a:fillRect/>
              </a:stretch>
            </p:blipFill>
            <p:spPr>
              <a:xfrm>
                <a:off x="2953308" y="5975381"/>
                <a:ext cx="238967" cy="232330"/>
              </a:xfrm>
              <a:prstGeom prst="rect">
                <a:avLst/>
              </a:prstGeom>
            </p:spPr>
          </p:pic>
          <p:pic>
            <p:nvPicPr>
              <p:cNvPr id="39" name="Picture 38">
                <a:extLst>
                  <a:ext uri="{FF2B5EF4-FFF2-40B4-BE49-F238E27FC236}">
                    <a16:creationId xmlns:a16="http://schemas.microsoft.com/office/drawing/2014/main" id="{C59EC3EC-4AF0-48A0-98B2-F5B5D95583ED}"/>
                  </a:ext>
                </a:extLst>
              </p:cNvPr>
              <p:cNvPicPr>
                <a:picLocks noChangeAspect="1"/>
              </p:cNvPicPr>
              <p:nvPr/>
            </p:nvPicPr>
            <p:blipFill>
              <a:blip r:embed="rId4"/>
              <a:stretch>
                <a:fillRect/>
              </a:stretch>
            </p:blipFill>
            <p:spPr>
              <a:xfrm>
                <a:off x="2956175" y="5687619"/>
                <a:ext cx="238967" cy="232330"/>
              </a:xfrm>
              <a:prstGeom prst="rect">
                <a:avLst/>
              </a:prstGeom>
            </p:spPr>
          </p:pic>
          <p:pic>
            <p:nvPicPr>
              <p:cNvPr id="40" name="Picture 39">
                <a:extLst>
                  <a:ext uri="{FF2B5EF4-FFF2-40B4-BE49-F238E27FC236}">
                    <a16:creationId xmlns:a16="http://schemas.microsoft.com/office/drawing/2014/main" id="{7A61B831-D2B5-48AA-BC59-CD9B14EE3B9D}"/>
                  </a:ext>
                </a:extLst>
              </p:cNvPr>
              <p:cNvPicPr>
                <a:picLocks noChangeAspect="1"/>
              </p:cNvPicPr>
              <p:nvPr/>
            </p:nvPicPr>
            <p:blipFill>
              <a:blip r:embed="rId4"/>
              <a:stretch>
                <a:fillRect/>
              </a:stretch>
            </p:blipFill>
            <p:spPr>
              <a:xfrm>
                <a:off x="2958065" y="5390989"/>
                <a:ext cx="238967" cy="232330"/>
              </a:xfrm>
              <a:prstGeom prst="rect">
                <a:avLst/>
              </a:prstGeom>
            </p:spPr>
          </p:pic>
          <p:sp>
            <p:nvSpPr>
              <p:cNvPr id="41" name="Left Brace 40">
                <a:extLst>
                  <a:ext uri="{FF2B5EF4-FFF2-40B4-BE49-F238E27FC236}">
                    <a16:creationId xmlns:a16="http://schemas.microsoft.com/office/drawing/2014/main" id="{3ADE4B6D-2467-40B7-B6DB-3F65A59CEBB3}"/>
                  </a:ext>
                </a:extLst>
              </p:cNvPr>
              <p:cNvSpPr/>
              <p:nvPr/>
            </p:nvSpPr>
            <p:spPr>
              <a:xfrm rot="5400000">
                <a:off x="2009162" y="4043556"/>
                <a:ext cx="321167" cy="203452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22" name="TextBox 21">
              <a:extLst>
                <a:ext uri="{FF2B5EF4-FFF2-40B4-BE49-F238E27FC236}">
                  <a16:creationId xmlns:a16="http://schemas.microsoft.com/office/drawing/2014/main" id="{D99CD81B-D627-4699-A9C8-FD6927727582}"/>
                </a:ext>
              </a:extLst>
            </p:cNvPr>
            <p:cNvSpPr txBox="1"/>
            <p:nvPr/>
          </p:nvSpPr>
          <p:spPr>
            <a:xfrm>
              <a:off x="770837" y="6127853"/>
              <a:ext cx="2042661" cy="307821"/>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rPr>
                <a:t>vSphere server and VMs</a:t>
              </a:r>
            </a:p>
          </p:txBody>
        </p:sp>
      </p:grpSp>
      <p:grpSp>
        <p:nvGrpSpPr>
          <p:cNvPr id="42" name="Group 41">
            <a:extLst>
              <a:ext uri="{FF2B5EF4-FFF2-40B4-BE49-F238E27FC236}">
                <a16:creationId xmlns:a16="http://schemas.microsoft.com/office/drawing/2014/main" id="{A3D24B98-F008-47E5-8CC2-438AFCB00B03}"/>
              </a:ext>
            </a:extLst>
          </p:cNvPr>
          <p:cNvGrpSpPr/>
          <p:nvPr/>
        </p:nvGrpSpPr>
        <p:grpSpPr>
          <a:xfrm>
            <a:off x="1475694" y="2759651"/>
            <a:ext cx="370486" cy="1531913"/>
            <a:chOff x="1475024" y="2346129"/>
            <a:chExt cx="370540" cy="1532132"/>
          </a:xfrm>
        </p:grpSpPr>
        <p:sp>
          <p:nvSpPr>
            <p:cNvPr id="43" name="TextBox 42">
              <a:extLst>
                <a:ext uri="{FF2B5EF4-FFF2-40B4-BE49-F238E27FC236}">
                  <a16:creationId xmlns:a16="http://schemas.microsoft.com/office/drawing/2014/main" id="{49BBF88A-712B-4BF1-AAAD-5BA15E0E8078}"/>
                </a:ext>
              </a:extLst>
            </p:cNvPr>
            <p:cNvSpPr txBox="1"/>
            <p:nvPr/>
          </p:nvSpPr>
          <p:spPr>
            <a:xfrm rot="16200000">
              <a:off x="886863" y="2982279"/>
              <a:ext cx="1484143" cy="307822"/>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Raw metadata</a:t>
              </a:r>
            </a:p>
          </p:txBody>
        </p:sp>
        <p:cxnSp>
          <p:nvCxnSpPr>
            <p:cNvPr id="44" name="Straight Arrow Connector 43">
              <a:extLst>
                <a:ext uri="{FF2B5EF4-FFF2-40B4-BE49-F238E27FC236}">
                  <a16:creationId xmlns:a16="http://schemas.microsoft.com/office/drawing/2014/main" id="{2BF15FEA-EC69-4E33-B91A-6F06580724DC}"/>
                </a:ext>
              </a:extLst>
            </p:cNvPr>
            <p:cNvCxnSpPr>
              <a:cxnSpLocks/>
            </p:cNvCxnSpPr>
            <p:nvPr/>
          </p:nvCxnSpPr>
          <p:spPr>
            <a:xfrm flipV="1">
              <a:off x="1834717" y="2346129"/>
              <a:ext cx="10847" cy="1371946"/>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sp>
        <p:nvSpPr>
          <p:cNvPr id="45" name="TextBox 44">
            <a:extLst>
              <a:ext uri="{FF2B5EF4-FFF2-40B4-BE49-F238E27FC236}">
                <a16:creationId xmlns:a16="http://schemas.microsoft.com/office/drawing/2014/main" id="{E4F5BE21-2E41-4091-99EA-8AD5EF934421}"/>
              </a:ext>
            </a:extLst>
          </p:cNvPr>
          <p:cNvSpPr txBox="1"/>
          <p:nvPr/>
        </p:nvSpPr>
        <p:spPr>
          <a:xfrm>
            <a:off x="4507044" y="2453008"/>
            <a:ext cx="1576381" cy="523220"/>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Azure Migrate Service</a:t>
            </a:r>
          </a:p>
        </p:txBody>
      </p:sp>
      <p:grpSp>
        <p:nvGrpSpPr>
          <p:cNvPr id="46" name="Group 45">
            <a:extLst>
              <a:ext uri="{FF2B5EF4-FFF2-40B4-BE49-F238E27FC236}">
                <a16:creationId xmlns:a16="http://schemas.microsoft.com/office/drawing/2014/main" id="{4D6C8715-BECF-40B4-9EDD-0FE6EE0B7F4D}"/>
              </a:ext>
            </a:extLst>
          </p:cNvPr>
          <p:cNvGrpSpPr/>
          <p:nvPr/>
        </p:nvGrpSpPr>
        <p:grpSpPr>
          <a:xfrm>
            <a:off x="2160265" y="4302959"/>
            <a:ext cx="2536847" cy="738664"/>
            <a:chOff x="2159688" y="3889653"/>
            <a:chExt cx="2537207" cy="738768"/>
          </a:xfrm>
        </p:grpSpPr>
        <p:sp>
          <p:nvSpPr>
            <p:cNvPr id="47" name="TextBox 46">
              <a:extLst>
                <a:ext uri="{FF2B5EF4-FFF2-40B4-BE49-F238E27FC236}">
                  <a16:creationId xmlns:a16="http://schemas.microsoft.com/office/drawing/2014/main" id="{F047E3B1-6830-4EAE-A255-37BBAEA6D682}"/>
                </a:ext>
              </a:extLst>
            </p:cNvPr>
            <p:cNvSpPr txBox="1"/>
            <p:nvPr/>
          </p:nvSpPr>
          <p:spPr>
            <a:xfrm>
              <a:off x="2599639" y="3889653"/>
              <a:ext cx="1484145" cy="738768"/>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 Download and configure appliance</a:t>
              </a:r>
            </a:p>
          </p:txBody>
        </p:sp>
        <p:cxnSp>
          <p:nvCxnSpPr>
            <p:cNvPr id="48" name="Straight Arrow Connector 47">
              <a:extLst>
                <a:ext uri="{FF2B5EF4-FFF2-40B4-BE49-F238E27FC236}">
                  <a16:creationId xmlns:a16="http://schemas.microsoft.com/office/drawing/2014/main" id="{A00EDB8A-67BA-45A6-B2BA-552DD2507F98}"/>
                </a:ext>
              </a:extLst>
            </p:cNvPr>
            <p:cNvCxnSpPr>
              <a:cxnSpLocks/>
            </p:cNvCxnSpPr>
            <p:nvPr/>
          </p:nvCxnSpPr>
          <p:spPr>
            <a:xfrm flipH="1" flipV="1">
              <a:off x="2159688" y="3911581"/>
              <a:ext cx="2537207" cy="5685"/>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C81EB8BF-26D7-4219-8CE5-A8A3D458D430}"/>
              </a:ext>
            </a:extLst>
          </p:cNvPr>
          <p:cNvGrpSpPr/>
          <p:nvPr/>
        </p:nvGrpSpPr>
        <p:grpSpPr>
          <a:xfrm>
            <a:off x="2113584" y="2857782"/>
            <a:ext cx="2583528" cy="1252362"/>
            <a:chOff x="2037094" y="2440252"/>
            <a:chExt cx="2659801" cy="1256562"/>
          </a:xfrm>
        </p:grpSpPr>
        <p:cxnSp>
          <p:nvCxnSpPr>
            <p:cNvPr id="50" name="Straight Arrow Connector 49">
              <a:extLst>
                <a:ext uri="{FF2B5EF4-FFF2-40B4-BE49-F238E27FC236}">
                  <a16:creationId xmlns:a16="http://schemas.microsoft.com/office/drawing/2014/main" id="{E3322888-51AF-494A-9A8B-FBAA041EBEA9}"/>
                </a:ext>
              </a:extLst>
            </p:cNvPr>
            <p:cNvCxnSpPr/>
            <p:nvPr/>
          </p:nvCxnSpPr>
          <p:spPr>
            <a:xfrm flipH="1" flipV="1">
              <a:off x="2037094" y="2440252"/>
              <a:ext cx="2659801" cy="1256562"/>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6A819C8-4466-4F00-9A12-1FA74D13458C}"/>
                </a:ext>
              </a:extLst>
            </p:cNvPr>
            <p:cNvSpPr txBox="1"/>
            <p:nvPr/>
          </p:nvSpPr>
          <p:spPr>
            <a:xfrm rot="1518117">
              <a:off x="2575340" y="2757954"/>
              <a:ext cx="1755166" cy="307821"/>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 Start discovery</a:t>
              </a:r>
            </a:p>
          </p:txBody>
        </p:sp>
      </p:grpSp>
      <p:grpSp>
        <p:nvGrpSpPr>
          <p:cNvPr id="52" name="Group 51">
            <a:extLst>
              <a:ext uri="{FF2B5EF4-FFF2-40B4-BE49-F238E27FC236}">
                <a16:creationId xmlns:a16="http://schemas.microsoft.com/office/drawing/2014/main" id="{DFCC0EDD-3E68-4BBE-90BF-5E6A1DBE8E84}"/>
              </a:ext>
            </a:extLst>
          </p:cNvPr>
          <p:cNvGrpSpPr/>
          <p:nvPr/>
        </p:nvGrpSpPr>
        <p:grpSpPr>
          <a:xfrm>
            <a:off x="4273351" y="3835125"/>
            <a:ext cx="1639277" cy="1094360"/>
            <a:chOff x="5038893" y="4634902"/>
            <a:chExt cx="1484144" cy="948188"/>
          </a:xfrm>
        </p:grpSpPr>
        <p:pic>
          <p:nvPicPr>
            <p:cNvPr id="53" name="Picture 52">
              <a:extLst>
                <a:ext uri="{FF2B5EF4-FFF2-40B4-BE49-F238E27FC236}">
                  <a16:creationId xmlns:a16="http://schemas.microsoft.com/office/drawing/2014/main" id="{76E6AB6D-5805-41A1-886E-BF03A2857773}"/>
                </a:ext>
              </a:extLst>
            </p:cNvPr>
            <p:cNvPicPr>
              <a:picLocks noChangeAspect="1"/>
            </p:cNvPicPr>
            <p:nvPr/>
          </p:nvPicPr>
          <p:blipFill>
            <a:blip r:embed="rId5"/>
            <a:stretch>
              <a:fillRect/>
            </a:stretch>
          </p:blipFill>
          <p:spPr>
            <a:xfrm>
              <a:off x="5443192" y="4634902"/>
              <a:ext cx="704690" cy="737121"/>
            </a:xfrm>
            <a:prstGeom prst="rect">
              <a:avLst/>
            </a:prstGeom>
          </p:spPr>
        </p:pic>
        <p:sp>
          <p:nvSpPr>
            <p:cNvPr id="54" name="TextBox 53">
              <a:extLst>
                <a:ext uri="{FF2B5EF4-FFF2-40B4-BE49-F238E27FC236}">
                  <a16:creationId xmlns:a16="http://schemas.microsoft.com/office/drawing/2014/main" id="{92D498EE-0CDC-4288-9B9A-883AEFEA41A8}"/>
                </a:ext>
              </a:extLst>
            </p:cNvPr>
            <p:cNvSpPr txBox="1"/>
            <p:nvPr/>
          </p:nvSpPr>
          <p:spPr>
            <a:xfrm>
              <a:off x="5038893" y="5316422"/>
              <a:ext cx="1484144" cy="266668"/>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Customer</a:t>
              </a:r>
            </a:p>
          </p:txBody>
        </p:sp>
      </p:grpSp>
      <p:grpSp>
        <p:nvGrpSpPr>
          <p:cNvPr id="55" name="Group 54">
            <a:extLst>
              <a:ext uri="{FF2B5EF4-FFF2-40B4-BE49-F238E27FC236}">
                <a16:creationId xmlns:a16="http://schemas.microsoft.com/office/drawing/2014/main" id="{0887A583-AA19-4C66-8892-547EAB5B1D52}"/>
              </a:ext>
            </a:extLst>
          </p:cNvPr>
          <p:cNvGrpSpPr/>
          <p:nvPr/>
        </p:nvGrpSpPr>
        <p:grpSpPr>
          <a:xfrm>
            <a:off x="5551586" y="2764342"/>
            <a:ext cx="3121643" cy="1585626"/>
            <a:chOff x="5551492" y="2350822"/>
            <a:chExt cx="3122086" cy="1585850"/>
          </a:xfrm>
        </p:grpSpPr>
        <p:cxnSp>
          <p:nvCxnSpPr>
            <p:cNvPr id="56" name="Straight Arrow Connector 55">
              <a:extLst>
                <a:ext uri="{FF2B5EF4-FFF2-40B4-BE49-F238E27FC236}">
                  <a16:creationId xmlns:a16="http://schemas.microsoft.com/office/drawing/2014/main" id="{680FBB6E-4076-4EFC-90C0-9B2D8821457F}"/>
                </a:ext>
              </a:extLst>
            </p:cNvPr>
            <p:cNvCxnSpPr/>
            <p:nvPr/>
          </p:nvCxnSpPr>
          <p:spPr>
            <a:xfrm flipV="1">
              <a:off x="5551492" y="2350822"/>
              <a:ext cx="3122086" cy="1585850"/>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C56BCC4-A496-4D5B-BF5A-0F17A1233CBF}"/>
                </a:ext>
              </a:extLst>
            </p:cNvPr>
            <p:cNvSpPr txBox="1"/>
            <p:nvPr/>
          </p:nvSpPr>
          <p:spPr>
            <a:xfrm rot="19986088">
              <a:off x="5882396" y="2895821"/>
              <a:ext cx="2110631" cy="307820"/>
            </a:xfrm>
            <a:prstGeom prst="rect">
              <a:avLst/>
            </a:prstGeom>
            <a:ln w="19050">
              <a:noFill/>
              <a:tailEnd type="triangle"/>
            </a:ln>
          </p:spPr>
          <p:style>
            <a:lnRef idx="1">
              <a:schemeClr val="accent1"/>
            </a:lnRef>
            <a:fillRef idx="0">
              <a:schemeClr val="accent1"/>
            </a:fillRef>
            <a:effectRef idx="0">
              <a:schemeClr val="accent1"/>
            </a:effectRef>
            <a:fontRef idx="minor">
              <a:schemeClr val="tx1"/>
            </a:fontRef>
          </p:style>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3. Create assessment</a:t>
              </a:r>
            </a:p>
          </p:txBody>
        </p:sp>
      </p:grpSp>
      <p:grpSp>
        <p:nvGrpSpPr>
          <p:cNvPr id="58" name="Group 57">
            <a:extLst>
              <a:ext uri="{FF2B5EF4-FFF2-40B4-BE49-F238E27FC236}">
                <a16:creationId xmlns:a16="http://schemas.microsoft.com/office/drawing/2014/main" id="{CAF42136-E8C2-4E6F-890F-A8587869E61D}"/>
              </a:ext>
            </a:extLst>
          </p:cNvPr>
          <p:cNvGrpSpPr/>
          <p:nvPr/>
        </p:nvGrpSpPr>
        <p:grpSpPr>
          <a:xfrm>
            <a:off x="6019650" y="1618024"/>
            <a:ext cx="3697146" cy="1111865"/>
            <a:chOff x="6019650" y="1204666"/>
            <a:chExt cx="3697146" cy="1111865"/>
          </a:xfrm>
        </p:grpSpPr>
        <p:grpSp>
          <p:nvGrpSpPr>
            <p:cNvPr id="59" name="Group 58">
              <a:extLst>
                <a:ext uri="{FF2B5EF4-FFF2-40B4-BE49-F238E27FC236}">
                  <a16:creationId xmlns:a16="http://schemas.microsoft.com/office/drawing/2014/main" id="{5E325459-F537-4128-B9E0-B72D77547CE8}"/>
                </a:ext>
              </a:extLst>
            </p:cNvPr>
            <p:cNvGrpSpPr/>
            <p:nvPr/>
          </p:nvGrpSpPr>
          <p:grpSpPr>
            <a:xfrm>
              <a:off x="6019650" y="1524673"/>
              <a:ext cx="2913888" cy="791858"/>
              <a:chOff x="6021510" y="1548028"/>
              <a:chExt cx="2914301" cy="791969"/>
            </a:xfrm>
          </p:grpSpPr>
          <p:grpSp>
            <p:nvGrpSpPr>
              <p:cNvPr id="61" name="Group 60">
                <a:extLst>
                  <a:ext uri="{FF2B5EF4-FFF2-40B4-BE49-F238E27FC236}">
                    <a16:creationId xmlns:a16="http://schemas.microsoft.com/office/drawing/2014/main" id="{B3175834-79D8-4AD9-B403-6E57E1C4724E}"/>
                  </a:ext>
                </a:extLst>
              </p:cNvPr>
              <p:cNvGrpSpPr/>
              <p:nvPr/>
            </p:nvGrpSpPr>
            <p:grpSpPr>
              <a:xfrm>
                <a:off x="6021510" y="1602583"/>
                <a:ext cx="2001439" cy="307820"/>
                <a:chOff x="6021510" y="1602583"/>
                <a:chExt cx="2001439" cy="307820"/>
              </a:xfrm>
            </p:grpSpPr>
            <p:sp>
              <p:nvSpPr>
                <p:cNvPr id="63" name="TextBox 62">
                  <a:extLst>
                    <a:ext uri="{FF2B5EF4-FFF2-40B4-BE49-F238E27FC236}">
                      <a16:creationId xmlns:a16="http://schemas.microsoft.com/office/drawing/2014/main" id="{F04ED68E-0F0B-4DAB-99AC-2C2D80271162}"/>
                    </a:ext>
                  </a:extLst>
                </p:cNvPr>
                <p:cNvSpPr txBox="1"/>
                <p:nvPr/>
              </p:nvSpPr>
              <p:spPr>
                <a:xfrm>
                  <a:off x="6021510" y="1602583"/>
                  <a:ext cx="2001439" cy="307820"/>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Processed metadata</a:t>
                  </a:r>
                </a:p>
              </p:txBody>
            </p:sp>
            <p:cxnSp>
              <p:nvCxnSpPr>
                <p:cNvPr id="64" name="Straight Arrow Connector 63">
                  <a:extLst>
                    <a:ext uri="{FF2B5EF4-FFF2-40B4-BE49-F238E27FC236}">
                      <a16:creationId xmlns:a16="http://schemas.microsoft.com/office/drawing/2014/main" id="{802C3E34-CD89-428A-9F70-3FE650B36A30}"/>
                    </a:ext>
                  </a:extLst>
                </p:cNvPr>
                <p:cNvCxnSpPr/>
                <p:nvPr/>
              </p:nvCxnSpPr>
              <p:spPr>
                <a:xfrm>
                  <a:off x="6195969" y="1900087"/>
                  <a:ext cx="1676737" cy="2242"/>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pic>
            <p:nvPicPr>
              <p:cNvPr id="62" name="Graphic 6">
                <a:extLst>
                  <a:ext uri="{FF2B5EF4-FFF2-40B4-BE49-F238E27FC236}">
                    <a16:creationId xmlns:a16="http://schemas.microsoft.com/office/drawing/2014/main" id="{9D5692F5-DC44-48B0-8B1B-840E1772FDE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43841" y="1548028"/>
                <a:ext cx="791970" cy="791969"/>
              </a:xfrm>
              <a:prstGeom prst="rect">
                <a:avLst/>
              </a:prstGeom>
            </p:spPr>
          </p:pic>
        </p:grpSp>
        <p:sp>
          <p:nvSpPr>
            <p:cNvPr id="60" name="Freeform 13" title="Icon of a cloud">
              <a:extLst>
                <a:ext uri="{FF2B5EF4-FFF2-40B4-BE49-F238E27FC236}">
                  <a16:creationId xmlns:a16="http://schemas.microsoft.com/office/drawing/2014/main" id="{73DBCAE4-2010-4D91-B11B-58857C9BCCE7}"/>
                </a:ext>
              </a:extLst>
            </p:cNvPr>
            <p:cNvSpPr>
              <a:spLocks noChangeAspect="1"/>
            </p:cNvSpPr>
            <p:nvPr/>
          </p:nvSpPr>
          <p:spPr bwMode="auto">
            <a:xfrm>
              <a:off x="7869543" y="1204666"/>
              <a:ext cx="1847253" cy="1013331"/>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381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F0198CF1-0D67-47D5-BB20-F94C468FA98D}"/>
              </a:ext>
            </a:extLst>
          </p:cNvPr>
          <p:cNvGrpSpPr/>
          <p:nvPr/>
        </p:nvGrpSpPr>
        <p:grpSpPr>
          <a:xfrm>
            <a:off x="2160264" y="1657952"/>
            <a:ext cx="3927404" cy="1013331"/>
            <a:chOff x="2160264" y="1244594"/>
            <a:chExt cx="3927404" cy="1013331"/>
          </a:xfrm>
        </p:grpSpPr>
        <p:grpSp>
          <p:nvGrpSpPr>
            <p:cNvPr id="66" name="Group 65">
              <a:extLst>
                <a:ext uri="{FF2B5EF4-FFF2-40B4-BE49-F238E27FC236}">
                  <a16:creationId xmlns:a16="http://schemas.microsoft.com/office/drawing/2014/main" id="{1C0DF678-375D-434B-AA70-36A1BB127343}"/>
                </a:ext>
              </a:extLst>
            </p:cNvPr>
            <p:cNvGrpSpPr/>
            <p:nvPr/>
          </p:nvGrpSpPr>
          <p:grpSpPr>
            <a:xfrm>
              <a:off x="2160264" y="1657559"/>
              <a:ext cx="2035574" cy="307776"/>
              <a:chOff x="2159688" y="1657297"/>
              <a:chExt cx="2035862" cy="307820"/>
            </a:xfrm>
          </p:grpSpPr>
          <p:sp>
            <p:nvSpPr>
              <p:cNvPr id="97" name="TextBox 96">
                <a:extLst>
                  <a:ext uri="{FF2B5EF4-FFF2-40B4-BE49-F238E27FC236}">
                    <a16:creationId xmlns:a16="http://schemas.microsoft.com/office/drawing/2014/main" id="{2AC52221-88EA-4D52-9EF0-F76A18ADB486}"/>
                  </a:ext>
                </a:extLst>
              </p:cNvPr>
              <p:cNvSpPr txBox="1"/>
              <p:nvPr/>
            </p:nvSpPr>
            <p:spPr>
              <a:xfrm>
                <a:off x="2257440" y="1657297"/>
                <a:ext cx="1721855" cy="307820"/>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Raw metadata</a:t>
                </a:r>
              </a:p>
            </p:txBody>
          </p:sp>
          <p:cxnSp>
            <p:nvCxnSpPr>
              <p:cNvPr id="98" name="Straight Arrow Connector 97">
                <a:extLst>
                  <a:ext uri="{FF2B5EF4-FFF2-40B4-BE49-F238E27FC236}">
                    <a16:creationId xmlns:a16="http://schemas.microsoft.com/office/drawing/2014/main" id="{E2B01EE8-230A-4293-886D-C7A05FA11DDB}"/>
                  </a:ext>
                </a:extLst>
              </p:cNvPr>
              <p:cNvCxnSpPr/>
              <p:nvPr/>
            </p:nvCxnSpPr>
            <p:spPr>
              <a:xfrm flipV="1">
                <a:off x="2159688" y="1923336"/>
                <a:ext cx="2035862" cy="10973"/>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67" name="Group 66">
              <a:extLst>
                <a:ext uri="{FF2B5EF4-FFF2-40B4-BE49-F238E27FC236}">
                  <a16:creationId xmlns:a16="http://schemas.microsoft.com/office/drawing/2014/main" id="{9F2252DA-0CDF-4972-92BA-624B95D35DB7}"/>
                </a:ext>
              </a:extLst>
            </p:cNvPr>
            <p:cNvGrpSpPr/>
            <p:nvPr/>
          </p:nvGrpSpPr>
          <p:grpSpPr>
            <a:xfrm>
              <a:off x="4650035" y="1635436"/>
              <a:ext cx="1255564" cy="433511"/>
              <a:chOff x="2309813" y="1431925"/>
              <a:chExt cx="2143125" cy="769937"/>
            </a:xfrm>
            <a:solidFill>
              <a:srgbClr val="0078D7"/>
            </a:solidFill>
          </p:grpSpPr>
          <p:sp>
            <p:nvSpPr>
              <p:cNvPr id="69" name="Freeform 342">
                <a:extLst>
                  <a:ext uri="{FF2B5EF4-FFF2-40B4-BE49-F238E27FC236}">
                    <a16:creationId xmlns:a16="http://schemas.microsoft.com/office/drawing/2014/main" id="{F119A868-9E5F-401E-8B0B-969F13228A79}"/>
                  </a:ext>
                </a:extLst>
              </p:cNvPr>
              <p:cNvSpPr>
                <a:spLocks noEditPoints="1"/>
              </p:cNvSpPr>
              <p:nvPr/>
            </p:nvSpPr>
            <p:spPr bwMode="auto">
              <a:xfrm>
                <a:off x="2638426" y="1851025"/>
                <a:ext cx="317500" cy="315912"/>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0" name="Freeform 343">
                <a:extLst>
                  <a:ext uri="{FF2B5EF4-FFF2-40B4-BE49-F238E27FC236}">
                    <a16:creationId xmlns:a16="http://schemas.microsoft.com/office/drawing/2014/main" id="{FB70952C-7D8E-479A-A265-3C8FE8884A9B}"/>
                  </a:ext>
                </a:extLst>
              </p:cNvPr>
              <p:cNvSpPr>
                <a:spLocks noEditPoints="1"/>
              </p:cNvSpPr>
              <p:nvPr/>
            </p:nvSpPr>
            <p:spPr bwMode="auto">
              <a:xfrm>
                <a:off x="2309813" y="1819275"/>
                <a:ext cx="334963" cy="331787"/>
              </a:xfrm>
              <a:custGeom>
                <a:avLst/>
                <a:gdLst>
                  <a:gd name="T0" fmla="*/ 96 w 98"/>
                  <a:gd name="T1" fmla="*/ 58 h 97"/>
                  <a:gd name="T2" fmla="*/ 89 w 98"/>
                  <a:gd name="T3" fmla="*/ 50 h 97"/>
                  <a:gd name="T4" fmla="*/ 96 w 98"/>
                  <a:gd name="T5" fmla="*/ 42 h 97"/>
                  <a:gd name="T6" fmla="*/ 90 w 98"/>
                  <a:gd name="T7" fmla="*/ 37 h 97"/>
                  <a:gd name="T8" fmla="*/ 88 w 98"/>
                  <a:gd name="T9" fmla="*/ 30 h 97"/>
                  <a:gd name="T10" fmla="*/ 89 w 98"/>
                  <a:gd name="T11" fmla="*/ 22 h 97"/>
                  <a:gd name="T12" fmla="*/ 79 w 98"/>
                  <a:gd name="T13" fmla="*/ 21 h 97"/>
                  <a:gd name="T14" fmla="*/ 78 w 98"/>
                  <a:gd name="T15" fmla="*/ 11 h 97"/>
                  <a:gd name="T16" fmla="*/ 70 w 98"/>
                  <a:gd name="T17" fmla="*/ 11 h 97"/>
                  <a:gd name="T18" fmla="*/ 64 w 98"/>
                  <a:gd name="T19" fmla="*/ 8 h 97"/>
                  <a:gd name="T20" fmla="*/ 58 w 98"/>
                  <a:gd name="T21" fmla="*/ 1 h 97"/>
                  <a:gd name="T22" fmla="*/ 51 w 98"/>
                  <a:gd name="T23" fmla="*/ 8 h 97"/>
                  <a:gd name="T24" fmla="*/ 43 w 98"/>
                  <a:gd name="T25" fmla="*/ 1 h 97"/>
                  <a:gd name="T26" fmla="*/ 37 w 98"/>
                  <a:gd name="T27" fmla="*/ 7 h 97"/>
                  <a:gd name="T28" fmla="*/ 31 w 98"/>
                  <a:gd name="T29" fmla="*/ 10 h 97"/>
                  <a:gd name="T30" fmla="*/ 23 w 98"/>
                  <a:gd name="T31" fmla="*/ 9 h 97"/>
                  <a:gd name="T32" fmla="*/ 22 w 98"/>
                  <a:gd name="T33" fmla="*/ 19 h 97"/>
                  <a:gd name="T34" fmla="*/ 11 w 98"/>
                  <a:gd name="T35" fmla="*/ 19 h 97"/>
                  <a:gd name="T36" fmla="*/ 12 w 98"/>
                  <a:gd name="T37" fmla="*/ 28 h 97"/>
                  <a:gd name="T38" fmla="*/ 9 w 98"/>
                  <a:gd name="T39" fmla="*/ 34 h 97"/>
                  <a:gd name="T40" fmla="*/ 2 w 98"/>
                  <a:gd name="T41" fmla="*/ 39 h 97"/>
                  <a:gd name="T42" fmla="*/ 9 w 98"/>
                  <a:gd name="T43" fmla="*/ 46 h 97"/>
                  <a:gd name="T44" fmla="*/ 2 w 98"/>
                  <a:gd name="T45" fmla="*/ 54 h 97"/>
                  <a:gd name="T46" fmla="*/ 8 w 98"/>
                  <a:gd name="T47" fmla="*/ 60 h 97"/>
                  <a:gd name="T48" fmla="*/ 10 w 98"/>
                  <a:gd name="T49" fmla="*/ 66 h 97"/>
                  <a:gd name="T50" fmla="*/ 9 w 98"/>
                  <a:gd name="T51" fmla="*/ 75 h 97"/>
                  <a:gd name="T52" fmla="*/ 19 w 98"/>
                  <a:gd name="T53" fmla="*/ 75 h 97"/>
                  <a:gd name="T54" fmla="*/ 20 w 98"/>
                  <a:gd name="T55" fmla="*/ 86 h 97"/>
                  <a:gd name="T56" fmla="*/ 28 w 98"/>
                  <a:gd name="T57" fmla="*/ 86 h 97"/>
                  <a:gd name="T58" fmla="*/ 34 w 98"/>
                  <a:gd name="T59" fmla="*/ 88 h 97"/>
                  <a:gd name="T60" fmla="*/ 40 w 98"/>
                  <a:gd name="T61" fmla="*/ 95 h 97"/>
                  <a:gd name="T62" fmla="*/ 47 w 98"/>
                  <a:gd name="T63" fmla="*/ 88 h 97"/>
                  <a:gd name="T64" fmla="*/ 55 w 98"/>
                  <a:gd name="T65" fmla="*/ 96 h 97"/>
                  <a:gd name="T66" fmla="*/ 61 w 98"/>
                  <a:gd name="T67" fmla="*/ 89 h 97"/>
                  <a:gd name="T68" fmla="*/ 67 w 98"/>
                  <a:gd name="T69" fmla="*/ 87 h 97"/>
                  <a:gd name="T70" fmla="*/ 75 w 98"/>
                  <a:gd name="T71" fmla="*/ 88 h 97"/>
                  <a:gd name="T72" fmla="*/ 76 w 98"/>
                  <a:gd name="T73" fmla="*/ 78 h 97"/>
                  <a:gd name="T74" fmla="*/ 87 w 98"/>
                  <a:gd name="T75" fmla="*/ 78 h 97"/>
                  <a:gd name="T76" fmla="*/ 86 w 98"/>
                  <a:gd name="T77" fmla="*/ 69 h 97"/>
                  <a:gd name="T78" fmla="*/ 89 w 98"/>
                  <a:gd name="T79" fmla="*/ 63 h 97"/>
                  <a:gd name="T80" fmla="*/ 57 w 98"/>
                  <a:gd name="T81" fmla="*/ 47 h 97"/>
                  <a:gd name="T82" fmla="*/ 41 w 98"/>
                  <a:gd name="T83" fmla="*/ 50 h 97"/>
                  <a:gd name="T84" fmla="*/ 57 w 98"/>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 h="97">
                    <a:moveTo>
                      <a:pt x="95" y="61"/>
                    </a:moveTo>
                    <a:cubicBezTo>
                      <a:pt x="97" y="60"/>
                      <a:pt x="97" y="59"/>
                      <a:pt x="96" y="58"/>
                    </a:cubicBezTo>
                    <a:cubicBezTo>
                      <a:pt x="91" y="53"/>
                      <a:pt x="91" y="53"/>
                      <a:pt x="91" y="53"/>
                    </a:cubicBezTo>
                    <a:cubicBezTo>
                      <a:pt x="90" y="52"/>
                      <a:pt x="89" y="51"/>
                      <a:pt x="89" y="50"/>
                    </a:cubicBezTo>
                    <a:cubicBezTo>
                      <a:pt x="89" y="50"/>
                      <a:pt x="90" y="48"/>
                      <a:pt x="92" y="47"/>
                    </a:cubicBezTo>
                    <a:cubicBezTo>
                      <a:pt x="96" y="42"/>
                      <a:pt x="96" y="42"/>
                      <a:pt x="96" y="42"/>
                    </a:cubicBezTo>
                    <a:cubicBezTo>
                      <a:pt x="98" y="41"/>
                      <a:pt x="98" y="40"/>
                      <a:pt x="96" y="39"/>
                    </a:cubicBezTo>
                    <a:cubicBezTo>
                      <a:pt x="90" y="37"/>
                      <a:pt x="90" y="37"/>
                      <a:pt x="90" y="37"/>
                    </a:cubicBezTo>
                    <a:cubicBezTo>
                      <a:pt x="88" y="36"/>
                      <a:pt x="87" y="35"/>
                      <a:pt x="87" y="35"/>
                    </a:cubicBezTo>
                    <a:cubicBezTo>
                      <a:pt x="87" y="34"/>
                      <a:pt x="87" y="32"/>
                      <a:pt x="88" y="30"/>
                    </a:cubicBezTo>
                    <a:cubicBezTo>
                      <a:pt x="91" y="25"/>
                      <a:pt x="91" y="25"/>
                      <a:pt x="91" y="25"/>
                    </a:cubicBezTo>
                    <a:cubicBezTo>
                      <a:pt x="91" y="23"/>
                      <a:pt x="91" y="22"/>
                      <a:pt x="89" y="22"/>
                    </a:cubicBezTo>
                    <a:cubicBezTo>
                      <a:pt x="82" y="22"/>
                      <a:pt x="82" y="22"/>
                      <a:pt x="82" y="22"/>
                    </a:cubicBezTo>
                    <a:cubicBezTo>
                      <a:pt x="81" y="22"/>
                      <a:pt x="79" y="22"/>
                      <a:pt x="79" y="21"/>
                    </a:cubicBezTo>
                    <a:cubicBezTo>
                      <a:pt x="78" y="21"/>
                      <a:pt x="78" y="19"/>
                      <a:pt x="78" y="17"/>
                    </a:cubicBezTo>
                    <a:cubicBezTo>
                      <a:pt x="78" y="11"/>
                      <a:pt x="78" y="11"/>
                      <a:pt x="78" y="11"/>
                    </a:cubicBezTo>
                    <a:cubicBezTo>
                      <a:pt x="78" y="9"/>
                      <a:pt x="77" y="8"/>
                      <a:pt x="76" y="9"/>
                    </a:cubicBezTo>
                    <a:cubicBezTo>
                      <a:pt x="70" y="11"/>
                      <a:pt x="70" y="11"/>
                      <a:pt x="70" y="11"/>
                    </a:cubicBezTo>
                    <a:cubicBezTo>
                      <a:pt x="68" y="12"/>
                      <a:pt x="66" y="12"/>
                      <a:pt x="66" y="12"/>
                    </a:cubicBezTo>
                    <a:cubicBezTo>
                      <a:pt x="66" y="12"/>
                      <a:pt x="64" y="10"/>
                      <a:pt x="64" y="8"/>
                    </a:cubicBezTo>
                    <a:cubicBezTo>
                      <a:pt x="62" y="2"/>
                      <a:pt x="62" y="2"/>
                      <a:pt x="62" y="2"/>
                    </a:cubicBezTo>
                    <a:cubicBezTo>
                      <a:pt x="61" y="1"/>
                      <a:pt x="60" y="0"/>
                      <a:pt x="58" y="1"/>
                    </a:cubicBezTo>
                    <a:cubicBezTo>
                      <a:pt x="54" y="6"/>
                      <a:pt x="54" y="6"/>
                      <a:pt x="54" y="6"/>
                    </a:cubicBezTo>
                    <a:cubicBezTo>
                      <a:pt x="53" y="7"/>
                      <a:pt x="51" y="8"/>
                      <a:pt x="51" y="8"/>
                    </a:cubicBezTo>
                    <a:cubicBezTo>
                      <a:pt x="50" y="8"/>
                      <a:pt x="48" y="7"/>
                      <a:pt x="47" y="6"/>
                    </a:cubicBezTo>
                    <a:cubicBezTo>
                      <a:pt x="43" y="1"/>
                      <a:pt x="43" y="1"/>
                      <a:pt x="43" y="1"/>
                    </a:cubicBezTo>
                    <a:cubicBezTo>
                      <a:pt x="42" y="0"/>
                      <a:pt x="40" y="0"/>
                      <a:pt x="40" y="1"/>
                    </a:cubicBezTo>
                    <a:cubicBezTo>
                      <a:pt x="37" y="7"/>
                      <a:pt x="37" y="7"/>
                      <a:pt x="37" y="7"/>
                    </a:cubicBezTo>
                    <a:cubicBezTo>
                      <a:pt x="37" y="9"/>
                      <a:pt x="36" y="11"/>
                      <a:pt x="35" y="11"/>
                    </a:cubicBezTo>
                    <a:cubicBezTo>
                      <a:pt x="35" y="11"/>
                      <a:pt x="33" y="10"/>
                      <a:pt x="31" y="10"/>
                    </a:cubicBezTo>
                    <a:cubicBezTo>
                      <a:pt x="25" y="7"/>
                      <a:pt x="25" y="7"/>
                      <a:pt x="25" y="7"/>
                    </a:cubicBezTo>
                    <a:cubicBezTo>
                      <a:pt x="24" y="6"/>
                      <a:pt x="23" y="7"/>
                      <a:pt x="23" y="9"/>
                    </a:cubicBezTo>
                    <a:cubicBezTo>
                      <a:pt x="23" y="15"/>
                      <a:pt x="23" y="15"/>
                      <a:pt x="23" y="15"/>
                    </a:cubicBezTo>
                    <a:cubicBezTo>
                      <a:pt x="23" y="17"/>
                      <a:pt x="22" y="18"/>
                      <a:pt x="22" y="19"/>
                    </a:cubicBezTo>
                    <a:cubicBezTo>
                      <a:pt x="22" y="19"/>
                      <a:pt x="19" y="20"/>
                      <a:pt x="18" y="19"/>
                    </a:cubicBezTo>
                    <a:cubicBezTo>
                      <a:pt x="11" y="19"/>
                      <a:pt x="11" y="19"/>
                      <a:pt x="11" y="19"/>
                    </a:cubicBezTo>
                    <a:cubicBezTo>
                      <a:pt x="9" y="19"/>
                      <a:pt x="9" y="20"/>
                      <a:pt x="9" y="22"/>
                    </a:cubicBezTo>
                    <a:cubicBezTo>
                      <a:pt x="12" y="28"/>
                      <a:pt x="12" y="28"/>
                      <a:pt x="12" y="28"/>
                    </a:cubicBezTo>
                    <a:cubicBezTo>
                      <a:pt x="12" y="29"/>
                      <a:pt x="13" y="31"/>
                      <a:pt x="13" y="31"/>
                    </a:cubicBezTo>
                    <a:cubicBezTo>
                      <a:pt x="13" y="32"/>
                      <a:pt x="11" y="33"/>
                      <a:pt x="9" y="34"/>
                    </a:cubicBezTo>
                    <a:cubicBezTo>
                      <a:pt x="3" y="36"/>
                      <a:pt x="3" y="36"/>
                      <a:pt x="3" y="36"/>
                    </a:cubicBezTo>
                    <a:cubicBezTo>
                      <a:pt x="1" y="36"/>
                      <a:pt x="1" y="38"/>
                      <a:pt x="2" y="39"/>
                    </a:cubicBezTo>
                    <a:cubicBezTo>
                      <a:pt x="7" y="43"/>
                      <a:pt x="7" y="43"/>
                      <a:pt x="7" y="43"/>
                    </a:cubicBezTo>
                    <a:cubicBezTo>
                      <a:pt x="8" y="45"/>
                      <a:pt x="9" y="46"/>
                      <a:pt x="9" y="46"/>
                    </a:cubicBezTo>
                    <a:cubicBezTo>
                      <a:pt x="9" y="47"/>
                      <a:pt x="8" y="49"/>
                      <a:pt x="6" y="50"/>
                    </a:cubicBezTo>
                    <a:cubicBezTo>
                      <a:pt x="2" y="54"/>
                      <a:pt x="2" y="54"/>
                      <a:pt x="2" y="54"/>
                    </a:cubicBezTo>
                    <a:cubicBezTo>
                      <a:pt x="0" y="55"/>
                      <a:pt x="0" y="57"/>
                      <a:pt x="2" y="58"/>
                    </a:cubicBezTo>
                    <a:cubicBezTo>
                      <a:pt x="8" y="60"/>
                      <a:pt x="8" y="60"/>
                      <a:pt x="8" y="60"/>
                    </a:cubicBezTo>
                    <a:cubicBezTo>
                      <a:pt x="10" y="61"/>
                      <a:pt x="11" y="62"/>
                      <a:pt x="11" y="62"/>
                    </a:cubicBezTo>
                    <a:cubicBezTo>
                      <a:pt x="11" y="62"/>
                      <a:pt x="11" y="65"/>
                      <a:pt x="10" y="66"/>
                    </a:cubicBezTo>
                    <a:cubicBezTo>
                      <a:pt x="7" y="72"/>
                      <a:pt x="7" y="72"/>
                      <a:pt x="7" y="72"/>
                    </a:cubicBezTo>
                    <a:cubicBezTo>
                      <a:pt x="7" y="73"/>
                      <a:pt x="7" y="75"/>
                      <a:pt x="9" y="75"/>
                    </a:cubicBezTo>
                    <a:cubicBezTo>
                      <a:pt x="16" y="75"/>
                      <a:pt x="16" y="75"/>
                      <a:pt x="16" y="75"/>
                    </a:cubicBezTo>
                    <a:cubicBezTo>
                      <a:pt x="17" y="75"/>
                      <a:pt x="19" y="75"/>
                      <a:pt x="19" y="75"/>
                    </a:cubicBezTo>
                    <a:cubicBezTo>
                      <a:pt x="20" y="76"/>
                      <a:pt x="20" y="78"/>
                      <a:pt x="20" y="80"/>
                    </a:cubicBezTo>
                    <a:cubicBezTo>
                      <a:pt x="20" y="86"/>
                      <a:pt x="20" y="86"/>
                      <a:pt x="20" y="86"/>
                    </a:cubicBezTo>
                    <a:cubicBezTo>
                      <a:pt x="20" y="88"/>
                      <a:pt x="21" y="89"/>
                      <a:pt x="22" y="88"/>
                    </a:cubicBezTo>
                    <a:cubicBezTo>
                      <a:pt x="28" y="86"/>
                      <a:pt x="28" y="86"/>
                      <a:pt x="28" y="86"/>
                    </a:cubicBezTo>
                    <a:cubicBezTo>
                      <a:pt x="30" y="85"/>
                      <a:pt x="32" y="84"/>
                      <a:pt x="32" y="85"/>
                    </a:cubicBezTo>
                    <a:cubicBezTo>
                      <a:pt x="32" y="85"/>
                      <a:pt x="34" y="87"/>
                      <a:pt x="34" y="88"/>
                    </a:cubicBezTo>
                    <a:cubicBezTo>
                      <a:pt x="36" y="94"/>
                      <a:pt x="36" y="94"/>
                      <a:pt x="36" y="94"/>
                    </a:cubicBezTo>
                    <a:cubicBezTo>
                      <a:pt x="37" y="96"/>
                      <a:pt x="38" y="96"/>
                      <a:pt x="40" y="95"/>
                    </a:cubicBezTo>
                    <a:cubicBezTo>
                      <a:pt x="44" y="91"/>
                      <a:pt x="44" y="91"/>
                      <a:pt x="44" y="91"/>
                    </a:cubicBezTo>
                    <a:cubicBezTo>
                      <a:pt x="45" y="89"/>
                      <a:pt x="47" y="88"/>
                      <a:pt x="47" y="88"/>
                    </a:cubicBezTo>
                    <a:cubicBezTo>
                      <a:pt x="48" y="88"/>
                      <a:pt x="50" y="89"/>
                      <a:pt x="51" y="91"/>
                    </a:cubicBezTo>
                    <a:cubicBezTo>
                      <a:pt x="55" y="96"/>
                      <a:pt x="55" y="96"/>
                      <a:pt x="55" y="96"/>
                    </a:cubicBezTo>
                    <a:cubicBezTo>
                      <a:pt x="56" y="97"/>
                      <a:pt x="58" y="97"/>
                      <a:pt x="58" y="95"/>
                    </a:cubicBezTo>
                    <a:cubicBezTo>
                      <a:pt x="61" y="89"/>
                      <a:pt x="61" y="89"/>
                      <a:pt x="61" y="89"/>
                    </a:cubicBezTo>
                    <a:cubicBezTo>
                      <a:pt x="61" y="88"/>
                      <a:pt x="62" y="86"/>
                      <a:pt x="63" y="86"/>
                    </a:cubicBezTo>
                    <a:cubicBezTo>
                      <a:pt x="63" y="86"/>
                      <a:pt x="65" y="86"/>
                      <a:pt x="67" y="87"/>
                    </a:cubicBezTo>
                    <a:cubicBezTo>
                      <a:pt x="73" y="90"/>
                      <a:pt x="73" y="90"/>
                      <a:pt x="73" y="90"/>
                    </a:cubicBezTo>
                    <a:cubicBezTo>
                      <a:pt x="74" y="91"/>
                      <a:pt x="75" y="90"/>
                      <a:pt x="75" y="88"/>
                    </a:cubicBezTo>
                    <a:cubicBezTo>
                      <a:pt x="75" y="82"/>
                      <a:pt x="75" y="82"/>
                      <a:pt x="75" y="82"/>
                    </a:cubicBezTo>
                    <a:cubicBezTo>
                      <a:pt x="75" y="80"/>
                      <a:pt x="76" y="78"/>
                      <a:pt x="76" y="78"/>
                    </a:cubicBezTo>
                    <a:cubicBezTo>
                      <a:pt x="76" y="78"/>
                      <a:pt x="78" y="77"/>
                      <a:pt x="80" y="77"/>
                    </a:cubicBezTo>
                    <a:cubicBezTo>
                      <a:pt x="87" y="78"/>
                      <a:pt x="87" y="78"/>
                      <a:pt x="87" y="78"/>
                    </a:cubicBezTo>
                    <a:cubicBezTo>
                      <a:pt x="88" y="78"/>
                      <a:pt x="89" y="77"/>
                      <a:pt x="89" y="75"/>
                    </a:cubicBezTo>
                    <a:cubicBezTo>
                      <a:pt x="86" y="69"/>
                      <a:pt x="86" y="69"/>
                      <a:pt x="86" y="69"/>
                    </a:cubicBezTo>
                    <a:cubicBezTo>
                      <a:pt x="86" y="67"/>
                      <a:pt x="85" y="66"/>
                      <a:pt x="85" y="65"/>
                    </a:cubicBezTo>
                    <a:cubicBezTo>
                      <a:pt x="85" y="65"/>
                      <a:pt x="87" y="64"/>
                      <a:pt x="89" y="63"/>
                    </a:cubicBezTo>
                    <a:lnTo>
                      <a:pt x="95" y="61"/>
                    </a:lnTo>
                    <a:close/>
                    <a:moveTo>
                      <a:pt x="57" y="47"/>
                    </a:moveTo>
                    <a:cubicBezTo>
                      <a:pt x="58" y="52"/>
                      <a:pt x="55" y="56"/>
                      <a:pt x="50" y="57"/>
                    </a:cubicBezTo>
                    <a:cubicBezTo>
                      <a:pt x="46" y="57"/>
                      <a:pt x="41" y="54"/>
                      <a:pt x="41" y="50"/>
                    </a:cubicBezTo>
                    <a:cubicBezTo>
                      <a:pt x="40" y="45"/>
                      <a:pt x="43" y="41"/>
                      <a:pt x="48" y="40"/>
                    </a:cubicBezTo>
                    <a:cubicBezTo>
                      <a:pt x="52" y="39"/>
                      <a:pt x="57" y="42"/>
                      <a:pt x="5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1" name="Freeform 344">
                <a:extLst>
                  <a:ext uri="{FF2B5EF4-FFF2-40B4-BE49-F238E27FC236}">
                    <a16:creationId xmlns:a16="http://schemas.microsoft.com/office/drawing/2014/main" id="{964FA009-301B-4910-8384-BA9BB38D27F3}"/>
                  </a:ext>
                </a:extLst>
              </p:cNvPr>
              <p:cNvSpPr>
                <a:spLocks noEditPoints="1"/>
              </p:cNvSpPr>
              <p:nvPr/>
            </p:nvSpPr>
            <p:spPr bwMode="auto">
              <a:xfrm>
                <a:off x="2851151" y="1431925"/>
                <a:ext cx="636588" cy="633412"/>
              </a:xfrm>
              <a:custGeom>
                <a:avLst/>
                <a:gdLst>
                  <a:gd name="T0" fmla="*/ 168 w 186"/>
                  <a:gd name="T1" fmla="*/ 74 h 186"/>
                  <a:gd name="T2" fmla="*/ 178 w 186"/>
                  <a:gd name="T3" fmla="*/ 54 h 186"/>
                  <a:gd name="T4" fmla="*/ 154 w 186"/>
                  <a:gd name="T5" fmla="*/ 47 h 186"/>
                  <a:gd name="T6" fmla="*/ 156 w 186"/>
                  <a:gd name="T7" fmla="*/ 24 h 186"/>
                  <a:gd name="T8" fmla="*/ 132 w 186"/>
                  <a:gd name="T9" fmla="*/ 27 h 186"/>
                  <a:gd name="T10" fmla="*/ 125 w 186"/>
                  <a:gd name="T11" fmla="*/ 6 h 186"/>
                  <a:gd name="T12" fmla="*/ 104 w 186"/>
                  <a:gd name="T13" fmla="*/ 17 h 186"/>
                  <a:gd name="T14" fmla="*/ 89 w 186"/>
                  <a:gd name="T15" fmla="*/ 0 h 186"/>
                  <a:gd name="T16" fmla="*/ 74 w 186"/>
                  <a:gd name="T17" fmla="*/ 19 h 186"/>
                  <a:gd name="T18" fmla="*/ 54 w 186"/>
                  <a:gd name="T19" fmla="*/ 9 h 186"/>
                  <a:gd name="T20" fmla="*/ 47 w 186"/>
                  <a:gd name="T21" fmla="*/ 32 h 186"/>
                  <a:gd name="T22" fmla="*/ 24 w 186"/>
                  <a:gd name="T23" fmla="*/ 31 h 186"/>
                  <a:gd name="T24" fmla="*/ 27 w 186"/>
                  <a:gd name="T25" fmla="*/ 54 h 186"/>
                  <a:gd name="T26" fmla="*/ 6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2 w 186"/>
                  <a:gd name="T43" fmla="*/ 181 h 186"/>
                  <a:gd name="T44" fmla="*/ 83 w 186"/>
                  <a:gd name="T45" fmla="*/ 169 h 186"/>
                  <a:gd name="T46" fmla="*/ 98 w 186"/>
                  <a:gd name="T47" fmla="*/ 186 h 186"/>
                  <a:gd name="T48" fmla="*/ 113 w 186"/>
                  <a:gd name="T49" fmla="*/ 167 h 186"/>
                  <a:gd name="T50" fmla="*/ 133 w 186"/>
                  <a:gd name="T51" fmla="*/ 177 h 186"/>
                  <a:gd name="T52" fmla="*/ 140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1 w 186"/>
                  <a:gd name="T69" fmla="*/ 108 h 186"/>
                  <a:gd name="T70" fmla="*/ 115 w 186"/>
                  <a:gd name="T71" fmla="*/ 76 h 186"/>
                  <a:gd name="T72" fmla="*/ 123 w 186"/>
                  <a:gd name="T73" fmla="*/ 42 h 186"/>
                  <a:gd name="T74" fmla="*/ 78 w 186"/>
                  <a:gd name="T75" fmla="*/ 35 h 186"/>
                  <a:gd name="T76" fmla="*/ 111 w 186"/>
                  <a:gd name="T77" fmla="*/ 42 h 186"/>
                  <a:gd name="T78" fmla="*/ 76 w 186"/>
                  <a:gd name="T79" fmla="*/ 42 h 186"/>
                  <a:gd name="T80" fmla="*/ 93 w 186"/>
                  <a:gd name="T81" fmla="*/ 108 h 186"/>
                  <a:gd name="T82" fmla="*/ 108 w 186"/>
                  <a:gd name="T83" fmla="*/ 93 h 186"/>
                  <a:gd name="T84" fmla="*/ 77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70 w 186"/>
                  <a:gd name="T97" fmla="*/ 141 h 186"/>
                  <a:gd name="T98" fmla="*/ 41 w 186"/>
                  <a:gd name="T99" fmla="*/ 123 h 186"/>
                  <a:gd name="T100" fmla="*/ 78 w 186"/>
                  <a:gd name="T101" fmla="*/ 150 h 186"/>
                  <a:gd name="T102" fmla="*/ 96 w 186"/>
                  <a:gd name="T103" fmla="*/ 120 h 186"/>
                  <a:gd name="T104" fmla="*/ 123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9" y="80"/>
                      <a:pt x="168" y="77"/>
                      <a:pt x="168" y="74"/>
                    </a:cubicBezTo>
                    <a:cubicBezTo>
                      <a:pt x="180" y="67"/>
                      <a:pt x="180" y="67"/>
                      <a:pt x="180" y="67"/>
                    </a:cubicBezTo>
                    <a:cubicBezTo>
                      <a:pt x="181" y="66"/>
                      <a:pt x="182" y="64"/>
                      <a:pt x="181" y="62"/>
                    </a:cubicBezTo>
                    <a:cubicBezTo>
                      <a:pt x="178" y="54"/>
                      <a:pt x="178" y="54"/>
                      <a:pt x="178" y="54"/>
                    </a:cubicBezTo>
                    <a:cubicBezTo>
                      <a:pt x="177" y="52"/>
                      <a:pt x="175" y="51"/>
                      <a:pt x="173" y="51"/>
                    </a:cubicBezTo>
                    <a:cubicBezTo>
                      <a:pt x="160" y="55"/>
                      <a:pt x="160" y="55"/>
                      <a:pt x="160" y="55"/>
                    </a:cubicBezTo>
                    <a:cubicBezTo>
                      <a:pt x="158" y="52"/>
                      <a:pt x="156" y="49"/>
                      <a:pt x="154" y="47"/>
                    </a:cubicBezTo>
                    <a:cubicBezTo>
                      <a:pt x="163" y="35"/>
                      <a:pt x="163" y="35"/>
                      <a:pt x="163" y="35"/>
                    </a:cubicBezTo>
                    <a:cubicBezTo>
                      <a:pt x="164" y="34"/>
                      <a:pt x="164" y="32"/>
                      <a:pt x="162" y="31"/>
                    </a:cubicBezTo>
                    <a:cubicBezTo>
                      <a:pt x="156" y="24"/>
                      <a:pt x="156" y="24"/>
                      <a:pt x="156" y="24"/>
                    </a:cubicBezTo>
                    <a:cubicBezTo>
                      <a:pt x="155" y="23"/>
                      <a:pt x="152" y="23"/>
                      <a:pt x="151" y="24"/>
                    </a:cubicBezTo>
                    <a:cubicBezTo>
                      <a:pt x="140" y="32"/>
                      <a:pt x="140" y="32"/>
                      <a:pt x="140" y="32"/>
                    </a:cubicBezTo>
                    <a:cubicBezTo>
                      <a:pt x="137" y="30"/>
                      <a:pt x="135" y="29"/>
                      <a:pt x="132" y="27"/>
                    </a:cubicBezTo>
                    <a:cubicBezTo>
                      <a:pt x="136" y="13"/>
                      <a:pt x="136" y="13"/>
                      <a:pt x="136" y="13"/>
                    </a:cubicBezTo>
                    <a:cubicBezTo>
                      <a:pt x="136" y="12"/>
                      <a:pt x="135" y="10"/>
                      <a:pt x="134" y="9"/>
                    </a:cubicBezTo>
                    <a:cubicBezTo>
                      <a:pt x="125" y="6"/>
                      <a:pt x="125" y="6"/>
                      <a:pt x="125" y="6"/>
                    </a:cubicBezTo>
                    <a:cubicBezTo>
                      <a:pt x="123" y="5"/>
                      <a:pt x="121" y="6"/>
                      <a:pt x="121" y="7"/>
                    </a:cubicBezTo>
                    <a:cubicBezTo>
                      <a:pt x="113" y="19"/>
                      <a:pt x="113" y="19"/>
                      <a:pt x="113" y="19"/>
                    </a:cubicBezTo>
                    <a:cubicBezTo>
                      <a:pt x="110" y="18"/>
                      <a:pt x="107" y="18"/>
                      <a:pt x="104" y="17"/>
                    </a:cubicBezTo>
                    <a:cubicBezTo>
                      <a:pt x="102" y="3"/>
                      <a:pt x="102" y="3"/>
                      <a:pt x="102" y="3"/>
                    </a:cubicBezTo>
                    <a:cubicBezTo>
                      <a:pt x="101" y="1"/>
                      <a:pt x="100" y="0"/>
                      <a:pt x="98" y="0"/>
                    </a:cubicBezTo>
                    <a:cubicBezTo>
                      <a:pt x="89" y="0"/>
                      <a:pt x="89" y="0"/>
                      <a:pt x="89"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3" y="5"/>
                    </a:cubicBezTo>
                    <a:cubicBezTo>
                      <a:pt x="54" y="9"/>
                      <a:pt x="54" y="9"/>
                      <a:pt x="54" y="9"/>
                    </a:cubicBezTo>
                    <a:cubicBezTo>
                      <a:pt x="52" y="9"/>
                      <a:pt x="51" y="11"/>
                      <a:pt x="52" y="13"/>
                    </a:cubicBezTo>
                    <a:cubicBezTo>
                      <a:pt x="55" y="27"/>
                      <a:pt x="55" y="27"/>
                      <a:pt x="55" y="27"/>
                    </a:cubicBezTo>
                    <a:cubicBezTo>
                      <a:pt x="52" y="28"/>
                      <a:pt x="50" y="30"/>
                      <a:pt x="47" y="32"/>
                    </a:cubicBezTo>
                    <a:cubicBezTo>
                      <a:pt x="36" y="24"/>
                      <a:pt x="36" y="24"/>
                      <a:pt x="36" y="24"/>
                    </a:cubicBezTo>
                    <a:cubicBezTo>
                      <a:pt x="34" y="23"/>
                      <a:pt x="32" y="23"/>
                      <a:pt x="31" y="24"/>
                    </a:cubicBezTo>
                    <a:cubicBezTo>
                      <a:pt x="24" y="31"/>
                      <a:pt x="24" y="31"/>
                      <a:pt x="24" y="31"/>
                    </a:cubicBezTo>
                    <a:cubicBezTo>
                      <a:pt x="23" y="32"/>
                      <a:pt x="23" y="34"/>
                      <a:pt x="24" y="35"/>
                    </a:cubicBezTo>
                    <a:cubicBezTo>
                      <a:pt x="32" y="47"/>
                      <a:pt x="32" y="47"/>
                      <a:pt x="32" y="47"/>
                    </a:cubicBezTo>
                    <a:cubicBezTo>
                      <a:pt x="31" y="49"/>
                      <a:pt x="29" y="52"/>
                      <a:pt x="27" y="54"/>
                    </a:cubicBezTo>
                    <a:cubicBezTo>
                      <a:pt x="14" y="51"/>
                      <a:pt x="14" y="51"/>
                      <a:pt x="14" y="51"/>
                    </a:cubicBezTo>
                    <a:cubicBezTo>
                      <a:pt x="12" y="50"/>
                      <a:pt x="10" y="51"/>
                      <a:pt x="9" y="53"/>
                    </a:cubicBezTo>
                    <a:cubicBezTo>
                      <a:pt x="6" y="61"/>
                      <a:pt x="6" y="61"/>
                      <a:pt x="6" y="61"/>
                    </a:cubicBezTo>
                    <a:cubicBezTo>
                      <a:pt x="5" y="63"/>
                      <a:pt x="6" y="65"/>
                      <a:pt x="7" y="66"/>
                    </a:cubicBezTo>
                    <a:cubicBezTo>
                      <a:pt x="19" y="73"/>
                      <a:pt x="19" y="73"/>
                      <a:pt x="19" y="73"/>
                    </a:cubicBezTo>
                    <a:cubicBezTo>
                      <a:pt x="19" y="76"/>
                      <a:pt x="18" y="80"/>
                      <a:pt x="17" y="83"/>
                    </a:cubicBezTo>
                    <a:cubicBezTo>
                      <a:pt x="3" y="85"/>
                      <a:pt x="3" y="85"/>
                      <a:pt x="3" y="85"/>
                    </a:cubicBezTo>
                    <a:cubicBezTo>
                      <a:pt x="2" y="85"/>
                      <a:pt x="0" y="87"/>
                      <a:pt x="0" y="88"/>
                    </a:cubicBezTo>
                    <a:cubicBezTo>
                      <a:pt x="0" y="98"/>
                      <a:pt x="0" y="98"/>
                      <a:pt x="0" y="98"/>
                    </a:cubicBezTo>
                    <a:cubicBezTo>
                      <a:pt x="0" y="100"/>
                      <a:pt x="2" y="101"/>
                      <a:pt x="3" y="101"/>
                    </a:cubicBezTo>
                    <a:cubicBezTo>
                      <a:pt x="17" y="103"/>
                      <a:pt x="17" y="103"/>
                      <a:pt x="17" y="103"/>
                    </a:cubicBezTo>
                    <a:cubicBezTo>
                      <a:pt x="18" y="106"/>
                      <a:pt x="18" y="109"/>
                      <a:pt x="19" y="112"/>
                    </a:cubicBezTo>
                    <a:cubicBezTo>
                      <a:pt x="7" y="119"/>
                      <a:pt x="7" y="119"/>
                      <a:pt x="7" y="119"/>
                    </a:cubicBezTo>
                    <a:cubicBezTo>
                      <a:pt x="6" y="120"/>
                      <a:pt x="5" y="122"/>
                      <a:pt x="5" y="124"/>
                    </a:cubicBezTo>
                    <a:cubicBezTo>
                      <a:pt x="9" y="133"/>
                      <a:pt x="9" y="133"/>
                      <a:pt x="9" y="133"/>
                    </a:cubicBezTo>
                    <a:cubicBezTo>
                      <a:pt x="10" y="134"/>
                      <a:pt x="12" y="135"/>
                      <a:pt x="13" y="135"/>
                    </a:cubicBezTo>
                    <a:cubicBezTo>
                      <a:pt x="27" y="131"/>
                      <a:pt x="27" y="131"/>
                      <a:pt x="27" y="131"/>
                    </a:cubicBezTo>
                    <a:cubicBezTo>
                      <a:pt x="29" y="134"/>
                      <a:pt x="30" y="137"/>
                      <a:pt x="32" y="139"/>
                    </a:cubicBezTo>
                    <a:cubicBezTo>
                      <a:pt x="24" y="151"/>
                      <a:pt x="24" y="151"/>
                      <a:pt x="24" y="151"/>
                    </a:cubicBezTo>
                    <a:cubicBezTo>
                      <a:pt x="23" y="152"/>
                      <a:pt x="23" y="154"/>
                      <a:pt x="24" y="156"/>
                    </a:cubicBezTo>
                    <a:cubicBezTo>
                      <a:pt x="31" y="162"/>
                      <a:pt x="31" y="162"/>
                      <a:pt x="31" y="162"/>
                    </a:cubicBezTo>
                    <a:cubicBezTo>
                      <a:pt x="32" y="163"/>
                      <a:pt x="34" y="164"/>
                      <a:pt x="36" y="163"/>
                    </a:cubicBezTo>
                    <a:cubicBezTo>
                      <a:pt x="47" y="154"/>
                      <a:pt x="47" y="154"/>
                      <a:pt x="47" y="154"/>
                    </a:cubicBezTo>
                    <a:cubicBezTo>
                      <a:pt x="49" y="156"/>
                      <a:pt x="52" y="158"/>
                      <a:pt x="54" y="159"/>
                    </a:cubicBezTo>
                    <a:cubicBezTo>
                      <a:pt x="51" y="173"/>
                      <a:pt x="51" y="173"/>
                      <a:pt x="51" y="173"/>
                    </a:cubicBezTo>
                    <a:cubicBezTo>
                      <a:pt x="50" y="174"/>
                      <a:pt x="51" y="176"/>
                      <a:pt x="53" y="177"/>
                    </a:cubicBezTo>
                    <a:cubicBezTo>
                      <a:pt x="62" y="181"/>
                      <a:pt x="62" y="181"/>
                      <a:pt x="62" y="181"/>
                    </a:cubicBezTo>
                    <a:cubicBezTo>
                      <a:pt x="63" y="181"/>
                      <a:pt x="65" y="181"/>
                      <a:pt x="66" y="179"/>
                    </a:cubicBezTo>
                    <a:cubicBezTo>
                      <a:pt x="74" y="167"/>
                      <a:pt x="74" y="167"/>
                      <a:pt x="74" y="167"/>
                    </a:cubicBezTo>
                    <a:cubicBezTo>
                      <a:pt x="77" y="168"/>
                      <a:pt x="80" y="169"/>
                      <a:pt x="83" y="169"/>
                    </a:cubicBezTo>
                    <a:cubicBezTo>
                      <a:pt x="85" y="183"/>
                      <a:pt x="85" y="183"/>
                      <a:pt x="85" y="183"/>
                    </a:cubicBezTo>
                    <a:cubicBezTo>
                      <a:pt x="85" y="185"/>
                      <a:pt x="87" y="186"/>
                      <a:pt x="89" y="186"/>
                    </a:cubicBezTo>
                    <a:cubicBezTo>
                      <a:pt x="98" y="186"/>
                      <a:pt x="98" y="186"/>
                      <a:pt x="98" y="186"/>
                    </a:cubicBezTo>
                    <a:cubicBezTo>
                      <a:pt x="100" y="186"/>
                      <a:pt x="101" y="185"/>
                      <a:pt x="102" y="183"/>
                    </a:cubicBezTo>
                    <a:cubicBezTo>
                      <a:pt x="104" y="169"/>
                      <a:pt x="104" y="169"/>
                      <a:pt x="104" y="169"/>
                    </a:cubicBezTo>
                    <a:cubicBezTo>
                      <a:pt x="107" y="169"/>
                      <a:pt x="110" y="168"/>
                      <a:pt x="113" y="167"/>
                    </a:cubicBezTo>
                    <a:cubicBezTo>
                      <a:pt x="120" y="179"/>
                      <a:pt x="120" y="179"/>
                      <a:pt x="120" y="179"/>
                    </a:cubicBezTo>
                    <a:cubicBezTo>
                      <a:pt x="121" y="181"/>
                      <a:pt x="123" y="182"/>
                      <a:pt x="124" y="181"/>
                    </a:cubicBezTo>
                    <a:cubicBezTo>
                      <a:pt x="133" y="177"/>
                      <a:pt x="133" y="177"/>
                      <a:pt x="133" y="177"/>
                    </a:cubicBezTo>
                    <a:cubicBezTo>
                      <a:pt x="135" y="177"/>
                      <a:pt x="135" y="175"/>
                      <a:pt x="135" y="173"/>
                    </a:cubicBezTo>
                    <a:cubicBezTo>
                      <a:pt x="132" y="159"/>
                      <a:pt x="132" y="159"/>
                      <a:pt x="132" y="159"/>
                    </a:cubicBezTo>
                    <a:cubicBezTo>
                      <a:pt x="134" y="158"/>
                      <a:pt x="137" y="156"/>
                      <a:pt x="140" y="154"/>
                    </a:cubicBezTo>
                    <a:cubicBezTo>
                      <a:pt x="151" y="163"/>
                      <a:pt x="151" y="163"/>
                      <a:pt x="151" y="163"/>
                    </a:cubicBezTo>
                    <a:cubicBezTo>
                      <a:pt x="152" y="164"/>
                      <a:pt x="155" y="163"/>
                      <a:pt x="156" y="162"/>
                    </a:cubicBezTo>
                    <a:cubicBezTo>
                      <a:pt x="162" y="156"/>
                      <a:pt x="162" y="156"/>
                      <a:pt x="162" y="156"/>
                    </a:cubicBezTo>
                    <a:cubicBezTo>
                      <a:pt x="164" y="154"/>
                      <a:pt x="164" y="152"/>
                      <a:pt x="163" y="151"/>
                    </a:cubicBezTo>
                    <a:cubicBezTo>
                      <a:pt x="154" y="139"/>
                      <a:pt x="154" y="139"/>
                      <a:pt x="154" y="139"/>
                    </a:cubicBezTo>
                    <a:cubicBezTo>
                      <a:pt x="156" y="137"/>
                      <a:pt x="158" y="135"/>
                      <a:pt x="159" y="132"/>
                    </a:cubicBezTo>
                    <a:cubicBezTo>
                      <a:pt x="173" y="136"/>
                      <a:pt x="173" y="136"/>
                      <a:pt x="173" y="136"/>
                    </a:cubicBezTo>
                    <a:cubicBezTo>
                      <a:pt x="175" y="136"/>
                      <a:pt x="177" y="135"/>
                      <a:pt x="177" y="133"/>
                    </a:cubicBezTo>
                    <a:cubicBezTo>
                      <a:pt x="181" y="125"/>
                      <a:pt x="181" y="125"/>
                      <a:pt x="181" y="125"/>
                    </a:cubicBezTo>
                    <a:cubicBezTo>
                      <a:pt x="182" y="123"/>
                      <a:pt x="181" y="121"/>
                      <a:pt x="179" y="120"/>
                    </a:cubicBezTo>
                    <a:cubicBezTo>
                      <a:pt x="167" y="113"/>
                      <a:pt x="167" y="113"/>
                      <a:pt x="167" y="113"/>
                    </a:cubicBezTo>
                    <a:cubicBezTo>
                      <a:pt x="168" y="110"/>
                      <a:pt x="169"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1" y="108"/>
                    </a:moveTo>
                    <a:cubicBezTo>
                      <a:pt x="150" y="111"/>
                      <a:pt x="146" y="113"/>
                      <a:pt x="143" y="111"/>
                    </a:cubicBezTo>
                    <a:cubicBezTo>
                      <a:pt x="120" y="96"/>
                      <a:pt x="120" y="96"/>
                      <a:pt x="120" y="96"/>
                    </a:cubicBezTo>
                    <a:cubicBezTo>
                      <a:pt x="117" y="95"/>
                      <a:pt x="117" y="92"/>
                      <a:pt x="120" y="90"/>
                    </a:cubicBezTo>
                    <a:cubicBezTo>
                      <a:pt x="143" y="75"/>
                      <a:pt x="143" y="75"/>
                      <a:pt x="143" y="75"/>
                    </a:cubicBezTo>
                    <a:cubicBezTo>
                      <a:pt x="146" y="74"/>
                      <a:pt x="150" y="75"/>
                      <a:pt x="151" y="78"/>
                    </a:cubicBezTo>
                    <a:cubicBezTo>
                      <a:pt x="151" y="78"/>
                      <a:pt x="153" y="86"/>
                      <a:pt x="153" y="93"/>
                    </a:cubicBezTo>
                    <a:cubicBezTo>
                      <a:pt x="153" y="101"/>
                      <a:pt x="151" y="108"/>
                      <a:pt x="151" y="108"/>
                    </a:cubicBezTo>
                    <a:close/>
                    <a:moveTo>
                      <a:pt x="145" y="63"/>
                    </a:moveTo>
                    <a:cubicBezTo>
                      <a:pt x="146" y="66"/>
                      <a:pt x="145" y="69"/>
                      <a:pt x="142" y="70"/>
                    </a:cubicBezTo>
                    <a:cubicBezTo>
                      <a:pt x="115" y="76"/>
                      <a:pt x="115" y="76"/>
                      <a:pt x="115"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1" y="56"/>
                      <a:pt x="145" y="63"/>
                      <a:pt x="145" y="63"/>
                    </a:cubicBezTo>
                    <a:close/>
                    <a:moveTo>
                      <a:pt x="78" y="35"/>
                    </a:moveTo>
                    <a:cubicBezTo>
                      <a:pt x="78" y="35"/>
                      <a:pt x="86" y="33"/>
                      <a:pt x="93" y="33"/>
                    </a:cubicBezTo>
                    <a:cubicBezTo>
                      <a:pt x="101" y="33"/>
                      <a:pt x="108" y="35"/>
                      <a:pt x="108" y="35"/>
                    </a:cubicBezTo>
                    <a:cubicBezTo>
                      <a:pt x="112" y="36"/>
                      <a:pt x="113" y="39"/>
                      <a:pt x="111" y="42"/>
                    </a:cubicBezTo>
                    <a:cubicBezTo>
                      <a:pt x="97" y="66"/>
                      <a:pt x="97" y="66"/>
                      <a:pt x="97" y="66"/>
                    </a:cubicBezTo>
                    <a:cubicBezTo>
                      <a:pt x="95" y="69"/>
                      <a:pt x="92" y="69"/>
                      <a:pt x="90" y="66"/>
                    </a:cubicBezTo>
                    <a:cubicBezTo>
                      <a:pt x="76" y="42"/>
                      <a:pt x="76" y="42"/>
                      <a:pt x="76" y="42"/>
                    </a:cubicBezTo>
                    <a:cubicBezTo>
                      <a:pt x="74" y="39"/>
                      <a:pt x="75" y="36"/>
                      <a:pt x="78" y="35"/>
                    </a:cubicBezTo>
                    <a:close/>
                    <a:moveTo>
                      <a:pt x="108" y="93"/>
                    </a:moveTo>
                    <a:cubicBezTo>
                      <a:pt x="108" y="101"/>
                      <a:pt x="101" y="108"/>
                      <a:pt x="93" y="108"/>
                    </a:cubicBezTo>
                    <a:cubicBezTo>
                      <a:pt x="85" y="108"/>
                      <a:pt x="79" y="101"/>
                      <a:pt x="79" y="93"/>
                    </a:cubicBezTo>
                    <a:cubicBezTo>
                      <a:pt x="79" y="85"/>
                      <a:pt x="85" y="79"/>
                      <a:pt x="93" y="79"/>
                    </a:cubicBezTo>
                    <a:cubicBezTo>
                      <a:pt x="101" y="79"/>
                      <a:pt x="108" y="85"/>
                      <a:pt x="108" y="93"/>
                    </a:cubicBezTo>
                    <a:close/>
                    <a:moveTo>
                      <a:pt x="63" y="41"/>
                    </a:moveTo>
                    <a:cubicBezTo>
                      <a:pt x="66" y="39"/>
                      <a:pt x="69" y="41"/>
                      <a:pt x="70" y="44"/>
                    </a:cubicBezTo>
                    <a:cubicBezTo>
                      <a:pt x="77" y="71"/>
                      <a:pt x="77" y="71"/>
                      <a:pt x="77" y="71"/>
                    </a:cubicBezTo>
                    <a:cubicBezTo>
                      <a:pt x="77" y="74"/>
                      <a:pt x="75" y="76"/>
                      <a:pt x="72" y="76"/>
                    </a:cubicBezTo>
                    <a:cubicBezTo>
                      <a:pt x="45" y="69"/>
                      <a:pt x="45" y="69"/>
                      <a:pt x="45" y="69"/>
                    </a:cubicBezTo>
                    <a:cubicBezTo>
                      <a:pt x="42" y="68"/>
                      <a:pt x="40" y="65"/>
                      <a:pt x="42" y="62"/>
                    </a:cubicBezTo>
                    <a:cubicBezTo>
                      <a:pt x="42" y="62"/>
                      <a:pt x="46" y="55"/>
                      <a:pt x="51" y="50"/>
                    </a:cubicBezTo>
                    <a:cubicBezTo>
                      <a:pt x="56" y="45"/>
                      <a:pt x="63" y="41"/>
                      <a:pt x="63" y="41"/>
                    </a:cubicBezTo>
                    <a:close/>
                    <a:moveTo>
                      <a:pt x="35" y="107"/>
                    </a:moveTo>
                    <a:cubicBezTo>
                      <a:pt x="35" y="107"/>
                      <a:pt x="33" y="100"/>
                      <a:pt x="33" y="92"/>
                    </a:cubicBezTo>
                    <a:cubicBezTo>
                      <a:pt x="33" y="85"/>
                      <a:pt x="35" y="77"/>
                      <a:pt x="35" y="77"/>
                    </a:cubicBezTo>
                    <a:cubicBezTo>
                      <a:pt x="36" y="74"/>
                      <a:pt x="40" y="73"/>
                      <a:pt x="42" y="75"/>
                    </a:cubicBezTo>
                    <a:cubicBezTo>
                      <a:pt x="66" y="89"/>
                      <a:pt x="66" y="89"/>
                      <a:pt x="66" y="89"/>
                    </a:cubicBezTo>
                    <a:cubicBezTo>
                      <a:pt x="69" y="91"/>
                      <a:pt x="69" y="94"/>
                      <a:pt x="66" y="96"/>
                    </a:cubicBezTo>
                    <a:cubicBezTo>
                      <a:pt x="42" y="110"/>
                      <a:pt x="42" y="110"/>
                      <a:pt x="42" y="110"/>
                    </a:cubicBezTo>
                    <a:cubicBezTo>
                      <a:pt x="40" y="112"/>
                      <a:pt x="36" y="111"/>
                      <a:pt x="35" y="107"/>
                    </a:cubicBezTo>
                    <a:close/>
                    <a:moveTo>
                      <a:pt x="41" y="123"/>
                    </a:moveTo>
                    <a:cubicBezTo>
                      <a:pt x="40" y="120"/>
                      <a:pt x="41" y="116"/>
                      <a:pt x="44" y="116"/>
                    </a:cubicBezTo>
                    <a:cubicBezTo>
                      <a:pt x="71" y="109"/>
                      <a:pt x="71" y="109"/>
                      <a:pt x="71" y="109"/>
                    </a:cubicBezTo>
                    <a:cubicBezTo>
                      <a:pt x="75" y="108"/>
                      <a:pt x="77" y="110"/>
                      <a:pt x="76" y="114"/>
                    </a:cubicBezTo>
                    <a:cubicBezTo>
                      <a:pt x="70" y="141"/>
                      <a:pt x="70" y="141"/>
                      <a:pt x="70" y="141"/>
                    </a:cubicBezTo>
                    <a:cubicBezTo>
                      <a:pt x="69" y="144"/>
                      <a:pt x="66" y="145"/>
                      <a:pt x="63" y="144"/>
                    </a:cubicBezTo>
                    <a:cubicBezTo>
                      <a:pt x="63" y="144"/>
                      <a:pt x="56" y="140"/>
                      <a:pt x="50" y="135"/>
                    </a:cubicBezTo>
                    <a:cubicBezTo>
                      <a:pt x="45" y="129"/>
                      <a:pt x="41" y="123"/>
                      <a:pt x="41" y="123"/>
                    </a:cubicBezTo>
                    <a:close/>
                    <a:moveTo>
                      <a:pt x="108" y="150"/>
                    </a:moveTo>
                    <a:cubicBezTo>
                      <a:pt x="108" y="150"/>
                      <a:pt x="100" y="152"/>
                      <a:pt x="93" y="152"/>
                    </a:cubicBezTo>
                    <a:cubicBezTo>
                      <a:pt x="85" y="152"/>
                      <a:pt x="78" y="150"/>
                      <a:pt x="78" y="150"/>
                    </a:cubicBezTo>
                    <a:cubicBezTo>
                      <a:pt x="74" y="149"/>
                      <a:pt x="73" y="146"/>
                      <a:pt x="75" y="143"/>
                    </a:cubicBezTo>
                    <a:cubicBezTo>
                      <a:pt x="89" y="120"/>
                      <a:pt x="89" y="120"/>
                      <a:pt x="89" y="120"/>
                    </a:cubicBezTo>
                    <a:cubicBezTo>
                      <a:pt x="91" y="117"/>
                      <a:pt x="94" y="117"/>
                      <a:pt x="96" y="120"/>
                    </a:cubicBezTo>
                    <a:cubicBezTo>
                      <a:pt x="110" y="143"/>
                      <a:pt x="110" y="143"/>
                      <a:pt x="110" y="143"/>
                    </a:cubicBezTo>
                    <a:cubicBezTo>
                      <a:pt x="112" y="146"/>
                      <a:pt x="111" y="149"/>
                      <a:pt x="108" y="150"/>
                    </a:cubicBezTo>
                    <a:close/>
                    <a:moveTo>
                      <a:pt x="123" y="144"/>
                    </a:moveTo>
                    <a:cubicBezTo>
                      <a:pt x="120" y="146"/>
                      <a:pt x="117" y="145"/>
                      <a:pt x="116" y="141"/>
                    </a:cubicBezTo>
                    <a:cubicBezTo>
                      <a:pt x="109" y="114"/>
                      <a:pt x="109" y="114"/>
                      <a:pt x="109" y="114"/>
                    </a:cubicBezTo>
                    <a:cubicBezTo>
                      <a:pt x="109" y="111"/>
                      <a:pt x="111" y="109"/>
                      <a:pt x="114" y="110"/>
                    </a:cubicBezTo>
                    <a:cubicBezTo>
                      <a:pt x="141" y="116"/>
                      <a:pt x="141" y="116"/>
                      <a:pt x="141" y="116"/>
                    </a:cubicBezTo>
                    <a:cubicBezTo>
                      <a:pt x="144" y="117"/>
                      <a:pt x="146" y="120"/>
                      <a:pt x="144" y="123"/>
                    </a:cubicBezTo>
                    <a:cubicBezTo>
                      <a:pt x="144" y="123"/>
                      <a:pt x="140" y="130"/>
                      <a:pt x="135" y="135"/>
                    </a:cubicBezTo>
                    <a:cubicBezTo>
                      <a:pt x="130" y="140"/>
                      <a:pt x="123" y="144"/>
                      <a:pt x="12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2" name="Freeform 345">
                <a:extLst>
                  <a:ext uri="{FF2B5EF4-FFF2-40B4-BE49-F238E27FC236}">
                    <a16:creationId xmlns:a16="http://schemas.microsoft.com/office/drawing/2014/main" id="{2EF0E081-6700-4023-A89C-22AB18CCD617}"/>
                  </a:ext>
                </a:extLst>
              </p:cNvPr>
              <p:cNvSpPr>
                <a:spLocks noEditPoints="1"/>
              </p:cNvSpPr>
              <p:nvPr/>
            </p:nvSpPr>
            <p:spPr bwMode="auto">
              <a:xfrm>
                <a:off x="3349626" y="1911350"/>
                <a:ext cx="292100" cy="290512"/>
              </a:xfrm>
              <a:custGeom>
                <a:avLst/>
                <a:gdLst>
                  <a:gd name="T0" fmla="*/ 83 w 85"/>
                  <a:gd name="T1" fmla="*/ 52 h 85"/>
                  <a:gd name="T2" fmla="*/ 71 w 85"/>
                  <a:gd name="T3" fmla="*/ 45 h 85"/>
                  <a:gd name="T4" fmla="*/ 71 w 85"/>
                  <a:gd name="T5" fmla="*/ 45 h 85"/>
                  <a:gd name="T6" fmla="*/ 71 w 85"/>
                  <a:gd name="T7" fmla="*/ 37 h 85"/>
                  <a:gd name="T8" fmla="*/ 71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9 w 85"/>
                  <a:gd name="T21" fmla="*/ 19 h 85"/>
                  <a:gd name="T22" fmla="*/ 59 w 85"/>
                  <a:gd name="T23" fmla="*/ 19 h 85"/>
                  <a:gd name="T24" fmla="*/ 60 w 85"/>
                  <a:gd name="T25" fmla="*/ 6 h 85"/>
                  <a:gd name="T26" fmla="*/ 57 w 85"/>
                  <a:gd name="T27" fmla="*/ 1 h 85"/>
                  <a:gd name="T28" fmla="*/ 52 w 85"/>
                  <a:gd name="T29" fmla="*/ 3 h 85"/>
                  <a:gd name="T30" fmla="*/ 45 w 85"/>
                  <a:gd name="T31" fmla="*/ 14 h 85"/>
                  <a:gd name="T32" fmla="*/ 45 w 85"/>
                  <a:gd name="T33" fmla="*/ 14 h 85"/>
                  <a:gd name="T34" fmla="*/ 37 w 85"/>
                  <a:gd name="T35" fmla="*/ 15 h 85"/>
                  <a:gd name="T36" fmla="*/ 37 w 85"/>
                  <a:gd name="T37" fmla="*/ 15 h 85"/>
                  <a:gd name="T38" fmla="*/ 29 w 85"/>
                  <a:gd name="T39" fmla="*/ 4 h 85"/>
                  <a:gd name="T40" fmla="*/ 23 w 85"/>
                  <a:gd name="T41" fmla="*/ 3 h 85"/>
                  <a:gd name="T42" fmla="*/ 21 w 85"/>
                  <a:gd name="T43" fmla="*/ 8 h 85"/>
                  <a:gd name="T44" fmla="*/ 24 w 85"/>
                  <a:gd name="T45" fmla="*/ 21 h 85"/>
                  <a:gd name="T46" fmla="*/ 24 w 85"/>
                  <a:gd name="T47" fmla="*/ 21 h 85"/>
                  <a:gd name="T48" fmla="*/ 19 w 85"/>
                  <a:gd name="T49" fmla="*/ 27 h 85"/>
                  <a:gd name="T50" fmla="*/ 19 w 85"/>
                  <a:gd name="T51" fmla="*/ 27 h 85"/>
                  <a:gd name="T52" fmla="*/ 5 w 85"/>
                  <a:gd name="T53" fmla="*/ 25 h 85"/>
                  <a:gd name="T54" fmla="*/ 1 w 85"/>
                  <a:gd name="T55" fmla="*/ 28 h 85"/>
                  <a:gd name="T56" fmla="*/ 3 w 85"/>
                  <a:gd name="T57" fmla="*/ 34 h 85"/>
                  <a:gd name="T58" fmla="*/ 14 w 85"/>
                  <a:gd name="T59" fmla="*/ 41 h 85"/>
                  <a:gd name="T60" fmla="*/ 14 w 85"/>
                  <a:gd name="T61" fmla="*/ 48 h 85"/>
                  <a:gd name="T62" fmla="*/ 4 w 85"/>
                  <a:gd name="T63" fmla="*/ 57 h 85"/>
                  <a:gd name="T64" fmla="*/ 3 w 85"/>
                  <a:gd name="T65" fmla="*/ 62 h 85"/>
                  <a:gd name="T66" fmla="*/ 8 w 85"/>
                  <a:gd name="T67" fmla="*/ 65 h 85"/>
                  <a:gd name="T68" fmla="*/ 21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80 w 85"/>
                  <a:gd name="T93" fmla="*/ 60 h 85"/>
                  <a:gd name="T94" fmla="*/ 84 w 85"/>
                  <a:gd name="T95" fmla="*/ 57 h 85"/>
                  <a:gd name="T96" fmla="*/ 83 w 85"/>
                  <a:gd name="T97" fmla="*/ 52 h 85"/>
                  <a:gd name="T98" fmla="*/ 36 w 85"/>
                  <a:gd name="T99" fmla="*/ 61 h 85"/>
                  <a:gd name="T100" fmla="*/ 25 w 85"/>
                  <a:gd name="T101" fmla="*/ 37 h 85"/>
                  <a:gd name="T102" fmla="*/ 48 w 85"/>
                  <a:gd name="T103" fmla="*/ 26 h 85"/>
                  <a:gd name="T104" fmla="*/ 60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3" y="52"/>
                    </a:moveTo>
                    <a:cubicBezTo>
                      <a:pt x="71" y="45"/>
                      <a:pt x="71" y="45"/>
                      <a:pt x="71" y="45"/>
                    </a:cubicBezTo>
                    <a:cubicBezTo>
                      <a:pt x="71" y="45"/>
                      <a:pt x="71" y="45"/>
                      <a:pt x="71" y="45"/>
                    </a:cubicBezTo>
                    <a:cubicBezTo>
                      <a:pt x="71" y="42"/>
                      <a:pt x="71" y="40"/>
                      <a:pt x="71" y="37"/>
                    </a:cubicBezTo>
                    <a:cubicBezTo>
                      <a:pt x="71" y="37"/>
                      <a:pt x="71" y="37"/>
                      <a:pt x="71" y="37"/>
                    </a:cubicBezTo>
                    <a:cubicBezTo>
                      <a:pt x="81" y="29"/>
                      <a:pt x="81" y="29"/>
                      <a:pt x="81" y="29"/>
                    </a:cubicBezTo>
                    <a:cubicBezTo>
                      <a:pt x="83" y="28"/>
                      <a:pt x="83" y="25"/>
                      <a:pt x="82" y="23"/>
                    </a:cubicBezTo>
                    <a:cubicBezTo>
                      <a:pt x="82" y="22"/>
                      <a:pt x="79" y="21"/>
                      <a:pt x="77" y="21"/>
                    </a:cubicBezTo>
                    <a:cubicBezTo>
                      <a:pt x="64" y="24"/>
                      <a:pt x="64" y="24"/>
                      <a:pt x="64" y="24"/>
                    </a:cubicBezTo>
                    <a:cubicBezTo>
                      <a:pt x="64" y="24"/>
                      <a:pt x="64" y="24"/>
                      <a:pt x="64" y="24"/>
                    </a:cubicBezTo>
                    <a:cubicBezTo>
                      <a:pt x="62" y="22"/>
                      <a:pt x="61" y="21"/>
                      <a:pt x="59" y="19"/>
                    </a:cubicBezTo>
                    <a:cubicBezTo>
                      <a:pt x="59" y="19"/>
                      <a:pt x="59" y="19"/>
                      <a:pt x="59" y="19"/>
                    </a:cubicBezTo>
                    <a:cubicBezTo>
                      <a:pt x="60" y="6"/>
                      <a:pt x="60" y="6"/>
                      <a:pt x="60" y="6"/>
                    </a:cubicBezTo>
                    <a:cubicBezTo>
                      <a:pt x="60" y="4"/>
                      <a:pt x="59" y="2"/>
                      <a:pt x="57" y="1"/>
                    </a:cubicBezTo>
                    <a:cubicBezTo>
                      <a:pt x="55" y="0"/>
                      <a:pt x="53" y="1"/>
                      <a:pt x="52" y="3"/>
                    </a:cubicBezTo>
                    <a:cubicBezTo>
                      <a:pt x="45" y="14"/>
                      <a:pt x="45" y="14"/>
                      <a:pt x="45" y="14"/>
                    </a:cubicBezTo>
                    <a:cubicBezTo>
                      <a:pt x="45" y="14"/>
                      <a:pt x="45" y="14"/>
                      <a:pt x="45" y="14"/>
                    </a:cubicBezTo>
                    <a:cubicBezTo>
                      <a:pt x="42" y="14"/>
                      <a:pt x="40" y="14"/>
                      <a:pt x="37" y="15"/>
                    </a:cubicBezTo>
                    <a:cubicBezTo>
                      <a:pt x="37" y="15"/>
                      <a:pt x="37" y="15"/>
                      <a:pt x="37" y="15"/>
                    </a:cubicBezTo>
                    <a:cubicBezTo>
                      <a:pt x="29" y="4"/>
                      <a:pt x="29" y="4"/>
                      <a:pt x="29" y="4"/>
                    </a:cubicBezTo>
                    <a:cubicBezTo>
                      <a:pt x="27" y="3"/>
                      <a:pt x="25" y="2"/>
                      <a:pt x="23" y="3"/>
                    </a:cubicBezTo>
                    <a:cubicBezTo>
                      <a:pt x="21" y="4"/>
                      <a:pt x="20" y="6"/>
                      <a:pt x="21" y="8"/>
                    </a:cubicBezTo>
                    <a:cubicBezTo>
                      <a:pt x="24" y="21"/>
                      <a:pt x="24" y="21"/>
                      <a:pt x="24" y="21"/>
                    </a:cubicBezTo>
                    <a:cubicBezTo>
                      <a:pt x="24" y="21"/>
                      <a:pt x="24" y="21"/>
                      <a:pt x="24" y="21"/>
                    </a:cubicBezTo>
                    <a:cubicBezTo>
                      <a:pt x="22" y="23"/>
                      <a:pt x="20" y="25"/>
                      <a:pt x="19" y="27"/>
                    </a:cubicBezTo>
                    <a:cubicBezTo>
                      <a:pt x="19" y="27"/>
                      <a:pt x="19" y="27"/>
                      <a:pt x="19" y="27"/>
                    </a:cubicBezTo>
                    <a:cubicBezTo>
                      <a:pt x="5" y="25"/>
                      <a:pt x="5" y="25"/>
                      <a:pt x="5" y="25"/>
                    </a:cubicBezTo>
                    <a:cubicBezTo>
                      <a:pt x="3" y="25"/>
                      <a:pt x="1" y="26"/>
                      <a:pt x="1" y="28"/>
                    </a:cubicBezTo>
                    <a:cubicBezTo>
                      <a:pt x="0" y="30"/>
                      <a:pt x="1" y="33"/>
                      <a:pt x="3" y="34"/>
                    </a:cubicBezTo>
                    <a:cubicBezTo>
                      <a:pt x="14" y="41"/>
                      <a:pt x="14" y="41"/>
                      <a:pt x="14" y="41"/>
                    </a:cubicBezTo>
                    <a:cubicBezTo>
                      <a:pt x="14" y="43"/>
                      <a:pt x="14" y="46"/>
                      <a:pt x="14" y="48"/>
                    </a:cubicBezTo>
                    <a:cubicBezTo>
                      <a:pt x="4" y="57"/>
                      <a:pt x="4" y="57"/>
                      <a:pt x="4" y="57"/>
                    </a:cubicBezTo>
                    <a:cubicBezTo>
                      <a:pt x="2" y="58"/>
                      <a:pt x="2" y="60"/>
                      <a:pt x="3" y="62"/>
                    </a:cubicBezTo>
                    <a:cubicBezTo>
                      <a:pt x="4" y="64"/>
                      <a:pt x="6" y="65"/>
                      <a:pt x="8" y="65"/>
                    </a:cubicBezTo>
                    <a:cubicBezTo>
                      <a:pt x="21" y="62"/>
                      <a:pt x="21" y="62"/>
                      <a:pt x="21" y="62"/>
                    </a:cubicBezTo>
                    <a:cubicBezTo>
                      <a:pt x="22" y="64"/>
                      <a:pt x="24" y="65"/>
                      <a:pt x="26" y="67"/>
                    </a:cubicBezTo>
                    <a:cubicBezTo>
                      <a:pt x="25" y="80"/>
                      <a:pt x="25" y="80"/>
                      <a:pt x="25" y="80"/>
                    </a:cubicBezTo>
                    <a:cubicBezTo>
                      <a:pt x="25" y="82"/>
                      <a:pt x="26" y="84"/>
                      <a:pt x="28" y="85"/>
                    </a:cubicBezTo>
                    <a:cubicBezTo>
                      <a:pt x="30" y="85"/>
                      <a:pt x="32" y="84"/>
                      <a:pt x="33" y="83"/>
                    </a:cubicBezTo>
                    <a:cubicBezTo>
                      <a:pt x="40" y="72"/>
                      <a:pt x="40" y="72"/>
                      <a:pt x="40" y="72"/>
                    </a:cubicBezTo>
                    <a:cubicBezTo>
                      <a:pt x="43" y="72"/>
                      <a:pt x="46" y="72"/>
                      <a:pt x="48" y="71"/>
                    </a:cubicBezTo>
                    <a:cubicBezTo>
                      <a:pt x="56" y="81"/>
                      <a:pt x="56" y="81"/>
                      <a:pt x="56" y="81"/>
                    </a:cubicBezTo>
                    <a:cubicBezTo>
                      <a:pt x="58" y="83"/>
                      <a:pt x="60" y="84"/>
                      <a:pt x="62" y="83"/>
                    </a:cubicBezTo>
                    <a:cubicBezTo>
                      <a:pt x="64" y="82"/>
                      <a:pt x="65" y="79"/>
                      <a:pt x="64" y="78"/>
                    </a:cubicBezTo>
                    <a:cubicBezTo>
                      <a:pt x="61" y="65"/>
                      <a:pt x="61" y="65"/>
                      <a:pt x="61" y="65"/>
                    </a:cubicBezTo>
                    <a:cubicBezTo>
                      <a:pt x="63" y="63"/>
                      <a:pt x="65" y="61"/>
                      <a:pt x="66" y="59"/>
                    </a:cubicBezTo>
                    <a:cubicBezTo>
                      <a:pt x="80" y="60"/>
                      <a:pt x="80" y="60"/>
                      <a:pt x="80" y="60"/>
                    </a:cubicBezTo>
                    <a:cubicBezTo>
                      <a:pt x="82" y="61"/>
                      <a:pt x="84" y="59"/>
                      <a:pt x="84" y="57"/>
                    </a:cubicBezTo>
                    <a:cubicBezTo>
                      <a:pt x="85" y="55"/>
                      <a:pt x="84" y="53"/>
                      <a:pt x="83" y="52"/>
                    </a:cubicBezTo>
                    <a:close/>
                    <a:moveTo>
                      <a:pt x="36" y="61"/>
                    </a:moveTo>
                    <a:cubicBezTo>
                      <a:pt x="27" y="57"/>
                      <a:pt x="22" y="47"/>
                      <a:pt x="25" y="37"/>
                    </a:cubicBezTo>
                    <a:cubicBezTo>
                      <a:pt x="28" y="27"/>
                      <a:pt x="39" y="22"/>
                      <a:pt x="48" y="26"/>
                    </a:cubicBezTo>
                    <a:cubicBezTo>
                      <a:pt x="58" y="29"/>
                      <a:pt x="63" y="39"/>
                      <a:pt x="60" y="49"/>
                    </a:cubicBezTo>
                    <a:cubicBezTo>
                      <a:pt x="57" y="59"/>
                      <a:pt x="46" y="64"/>
                      <a:pt x="3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3" name="Freeform 346">
                <a:extLst>
                  <a:ext uri="{FF2B5EF4-FFF2-40B4-BE49-F238E27FC236}">
                    <a16:creationId xmlns:a16="http://schemas.microsoft.com/office/drawing/2014/main" id="{82D9D2E6-EC6B-4CB5-B5DC-D0805BBE6FB6}"/>
                  </a:ext>
                </a:extLst>
              </p:cNvPr>
              <p:cNvSpPr>
                <a:spLocks noEditPoints="1"/>
              </p:cNvSpPr>
              <p:nvPr/>
            </p:nvSpPr>
            <p:spPr bwMode="auto">
              <a:xfrm>
                <a:off x="4148138" y="1847850"/>
                <a:ext cx="304800" cy="303212"/>
              </a:xfrm>
              <a:custGeom>
                <a:avLst/>
                <a:gdLst>
                  <a:gd name="T0" fmla="*/ 86 w 89"/>
                  <a:gd name="T1" fmla="*/ 48 h 89"/>
                  <a:gd name="T2" fmla="*/ 88 w 89"/>
                  <a:gd name="T3" fmla="*/ 43 h 89"/>
                  <a:gd name="T4" fmla="*/ 82 w 89"/>
                  <a:gd name="T5" fmla="*/ 39 h 89"/>
                  <a:gd name="T6" fmla="*/ 77 w 89"/>
                  <a:gd name="T7" fmla="*/ 36 h 89"/>
                  <a:gd name="T8" fmla="*/ 74 w 89"/>
                  <a:gd name="T9" fmla="*/ 24 h 89"/>
                  <a:gd name="T10" fmla="*/ 77 w 89"/>
                  <a:gd name="T11" fmla="*/ 18 h 89"/>
                  <a:gd name="T12" fmla="*/ 74 w 89"/>
                  <a:gd name="T13" fmla="*/ 12 h 89"/>
                  <a:gd name="T14" fmla="*/ 67 w 89"/>
                  <a:gd name="T15" fmla="*/ 13 h 89"/>
                  <a:gd name="T16" fmla="*/ 61 w 89"/>
                  <a:gd name="T17" fmla="*/ 15 h 89"/>
                  <a:gd name="T18" fmla="*/ 51 w 89"/>
                  <a:gd name="T19" fmla="*/ 9 h 89"/>
                  <a:gd name="T20" fmla="*/ 48 w 89"/>
                  <a:gd name="T21" fmla="*/ 2 h 89"/>
                  <a:gd name="T22" fmla="*/ 43 w 89"/>
                  <a:gd name="T23" fmla="*/ 1 h 89"/>
                  <a:gd name="T24" fmla="*/ 39 w 89"/>
                  <a:gd name="T25" fmla="*/ 6 h 89"/>
                  <a:gd name="T26" fmla="*/ 36 w 89"/>
                  <a:gd name="T27" fmla="*/ 12 h 89"/>
                  <a:gd name="T28" fmla="*/ 24 w 89"/>
                  <a:gd name="T29" fmla="*/ 15 h 89"/>
                  <a:gd name="T30" fmla="*/ 18 w 89"/>
                  <a:gd name="T31" fmla="*/ 12 h 89"/>
                  <a:gd name="T32" fmla="*/ 12 w 89"/>
                  <a:gd name="T33" fmla="*/ 15 h 89"/>
                  <a:gd name="T34" fmla="*/ 13 w 89"/>
                  <a:gd name="T35" fmla="*/ 22 h 89"/>
                  <a:gd name="T36" fmla="*/ 15 w 89"/>
                  <a:gd name="T37" fmla="*/ 28 h 89"/>
                  <a:gd name="T38" fmla="*/ 9 w 89"/>
                  <a:gd name="T39" fmla="*/ 38 h 89"/>
                  <a:gd name="T40" fmla="*/ 2 w 89"/>
                  <a:gd name="T41" fmla="*/ 40 h 89"/>
                  <a:gd name="T42" fmla="*/ 0 w 89"/>
                  <a:gd name="T43" fmla="*/ 46 h 89"/>
                  <a:gd name="T44" fmla="*/ 6 w 89"/>
                  <a:gd name="T45" fmla="*/ 50 h 89"/>
                  <a:gd name="T46" fmla="*/ 11 w 89"/>
                  <a:gd name="T47" fmla="*/ 53 h 89"/>
                  <a:gd name="T48" fmla="*/ 14 w 89"/>
                  <a:gd name="T49" fmla="*/ 65 h 89"/>
                  <a:gd name="T50" fmla="*/ 12 w 89"/>
                  <a:gd name="T51" fmla="*/ 71 h 89"/>
                  <a:gd name="T52" fmla="*/ 14 w 89"/>
                  <a:gd name="T53" fmla="*/ 77 h 89"/>
                  <a:gd name="T54" fmla="*/ 22 w 89"/>
                  <a:gd name="T55" fmla="*/ 75 h 89"/>
                  <a:gd name="T56" fmla="*/ 27 w 89"/>
                  <a:gd name="T57" fmla="*/ 74 h 89"/>
                  <a:gd name="T58" fmla="*/ 38 w 89"/>
                  <a:gd name="T59" fmla="*/ 81 h 89"/>
                  <a:gd name="T60" fmla="*/ 40 w 89"/>
                  <a:gd name="T61" fmla="*/ 86 h 89"/>
                  <a:gd name="T62" fmla="*/ 46 w 89"/>
                  <a:gd name="T63" fmla="*/ 88 h 89"/>
                  <a:gd name="T64" fmla="*/ 50 w 89"/>
                  <a:gd name="T65" fmla="*/ 82 h 89"/>
                  <a:gd name="T66" fmla="*/ 53 w 89"/>
                  <a:gd name="T67" fmla="*/ 78 h 89"/>
                  <a:gd name="T68" fmla="*/ 66 w 89"/>
                  <a:gd name="T69" fmla="*/ 75 h 89"/>
                  <a:gd name="T70" fmla="*/ 71 w 89"/>
                  <a:gd name="T71" fmla="*/ 77 h 89"/>
                  <a:gd name="T72" fmla="*/ 76 w 89"/>
                  <a:gd name="T73" fmla="*/ 74 h 89"/>
                  <a:gd name="T74" fmla="*/ 75 w 89"/>
                  <a:gd name="T75" fmla="*/ 67 h 89"/>
                  <a:gd name="T76" fmla="*/ 74 w 89"/>
                  <a:gd name="T77" fmla="*/ 62 h 89"/>
                  <a:gd name="T78" fmla="*/ 81 w 89"/>
                  <a:gd name="T79" fmla="*/ 51 h 89"/>
                  <a:gd name="T80" fmla="*/ 64 w 89"/>
                  <a:gd name="T81" fmla="*/ 25 h 89"/>
                  <a:gd name="T82" fmla="*/ 54 w 89"/>
                  <a:gd name="T83" fmla="*/ 36 h 89"/>
                  <a:gd name="T84" fmla="*/ 64 w 89"/>
                  <a:gd name="T85" fmla="*/ 25 h 89"/>
                  <a:gd name="T86" fmla="*/ 49 w 89"/>
                  <a:gd name="T87" fmla="*/ 41 h 89"/>
                  <a:gd name="T88" fmla="*/ 40 w 89"/>
                  <a:gd name="T89" fmla="*/ 49 h 89"/>
                  <a:gd name="T90" fmla="*/ 36 w 89"/>
                  <a:gd name="T91" fmla="*/ 36 h 89"/>
                  <a:gd name="T92" fmla="*/ 25 w 89"/>
                  <a:gd name="T93" fmla="*/ 25 h 89"/>
                  <a:gd name="T94" fmla="*/ 36 w 89"/>
                  <a:gd name="T95" fmla="*/ 36 h 89"/>
                  <a:gd name="T96" fmla="*/ 25 w 89"/>
                  <a:gd name="T97" fmla="*/ 54 h 89"/>
                  <a:gd name="T98" fmla="*/ 36 w 89"/>
                  <a:gd name="T99" fmla="*/ 64 h 89"/>
                  <a:gd name="T100" fmla="*/ 54 w 89"/>
                  <a:gd name="T101" fmla="*/ 54 h 89"/>
                  <a:gd name="T102" fmla="*/ 64 w 89"/>
                  <a:gd name="T103" fmla="*/ 64 h 89"/>
                  <a:gd name="T104" fmla="*/ 54 w 89"/>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89">
                    <a:moveTo>
                      <a:pt x="82" y="51"/>
                    </a:moveTo>
                    <a:cubicBezTo>
                      <a:pt x="84" y="50"/>
                      <a:pt x="85" y="49"/>
                      <a:pt x="86" y="48"/>
                    </a:cubicBezTo>
                    <a:cubicBezTo>
                      <a:pt x="88" y="46"/>
                      <a:pt x="88" y="46"/>
                      <a:pt x="88" y="46"/>
                    </a:cubicBezTo>
                    <a:cubicBezTo>
                      <a:pt x="89" y="45"/>
                      <a:pt x="89" y="44"/>
                      <a:pt x="88" y="43"/>
                    </a:cubicBezTo>
                    <a:cubicBezTo>
                      <a:pt x="86" y="41"/>
                      <a:pt x="86" y="41"/>
                      <a:pt x="86" y="41"/>
                    </a:cubicBezTo>
                    <a:cubicBezTo>
                      <a:pt x="85" y="40"/>
                      <a:pt x="84" y="39"/>
                      <a:pt x="82" y="39"/>
                    </a:cubicBezTo>
                    <a:cubicBezTo>
                      <a:pt x="81" y="38"/>
                      <a:pt x="81" y="38"/>
                      <a:pt x="81" y="38"/>
                    </a:cubicBezTo>
                    <a:cubicBezTo>
                      <a:pt x="79" y="38"/>
                      <a:pt x="78" y="37"/>
                      <a:pt x="77" y="36"/>
                    </a:cubicBezTo>
                    <a:cubicBezTo>
                      <a:pt x="74" y="28"/>
                      <a:pt x="74" y="28"/>
                      <a:pt x="74" y="28"/>
                    </a:cubicBezTo>
                    <a:cubicBezTo>
                      <a:pt x="73" y="26"/>
                      <a:pt x="73" y="25"/>
                      <a:pt x="74" y="24"/>
                    </a:cubicBezTo>
                    <a:cubicBezTo>
                      <a:pt x="75" y="22"/>
                      <a:pt x="75" y="22"/>
                      <a:pt x="75" y="22"/>
                    </a:cubicBezTo>
                    <a:cubicBezTo>
                      <a:pt x="76" y="21"/>
                      <a:pt x="77" y="19"/>
                      <a:pt x="77" y="18"/>
                    </a:cubicBezTo>
                    <a:cubicBezTo>
                      <a:pt x="77" y="15"/>
                      <a:pt x="77" y="15"/>
                      <a:pt x="77" y="15"/>
                    </a:cubicBezTo>
                    <a:cubicBezTo>
                      <a:pt x="77" y="13"/>
                      <a:pt x="76" y="12"/>
                      <a:pt x="74" y="12"/>
                    </a:cubicBezTo>
                    <a:cubicBezTo>
                      <a:pt x="71" y="12"/>
                      <a:pt x="71" y="12"/>
                      <a:pt x="71" y="12"/>
                    </a:cubicBezTo>
                    <a:cubicBezTo>
                      <a:pt x="70" y="12"/>
                      <a:pt x="68" y="13"/>
                      <a:pt x="67" y="13"/>
                    </a:cubicBezTo>
                    <a:cubicBezTo>
                      <a:pt x="65" y="15"/>
                      <a:pt x="65" y="15"/>
                      <a:pt x="65" y="15"/>
                    </a:cubicBezTo>
                    <a:cubicBezTo>
                      <a:pt x="64" y="16"/>
                      <a:pt x="62" y="16"/>
                      <a:pt x="61" y="15"/>
                    </a:cubicBezTo>
                    <a:cubicBezTo>
                      <a:pt x="53" y="12"/>
                      <a:pt x="53" y="12"/>
                      <a:pt x="53" y="12"/>
                    </a:cubicBezTo>
                    <a:cubicBezTo>
                      <a:pt x="52" y="12"/>
                      <a:pt x="51" y="10"/>
                      <a:pt x="51" y="9"/>
                    </a:cubicBezTo>
                    <a:cubicBezTo>
                      <a:pt x="51" y="6"/>
                      <a:pt x="51" y="6"/>
                      <a:pt x="51" y="6"/>
                    </a:cubicBezTo>
                    <a:cubicBezTo>
                      <a:pt x="50" y="5"/>
                      <a:pt x="49" y="3"/>
                      <a:pt x="48" y="2"/>
                    </a:cubicBezTo>
                    <a:cubicBezTo>
                      <a:pt x="46" y="1"/>
                      <a:pt x="46" y="1"/>
                      <a:pt x="46" y="1"/>
                    </a:cubicBezTo>
                    <a:cubicBezTo>
                      <a:pt x="45" y="0"/>
                      <a:pt x="44" y="0"/>
                      <a:pt x="43" y="1"/>
                    </a:cubicBezTo>
                    <a:cubicBezTo>
                      <a:pt x="41" y="2"/>
                      <a:pt x="41" y="2"/>
                      <a:pt x="41" y="2"/>
                    </a:cubicBezTo>
                    <a:cubicBezTo>
                      <a:pt x="40" y="3"/>
                      <a:pt x="39" y="5"/>
                      <a:pt x="39" y="6"/>
                    </a:cubicBezTo>
                    <a:cubicBezTo>
                      <a:pt x="38" y="9"/>
                      <a:pt x="38" y="9"/>
                      <a:pt x="38" y="9"/>
                    </a:cubicBezTo>
                    <a:cubicBezTo>
                      <a:pt x="38" y="10"/>
                      <a:pt x="37" y="12"/>
                      <a:pt x="36" y="12"/>
                    </a:cubicBezTo>
                    <a:cubicBezTo>
                      <a:pt x="28" y="15"/>
                      <a:pt x="28" y="15"/>
                      <a:pt x="28" y="15"/>
                    </a:cubicBezTo>
                    <a:cubicBezTo>
                      <a:pt x="27" y="16"/>
                      <a:pt x="25" y="16"/>
                      <a:pt x="24" y="15"/>
                    </a:cubicBezTo>
                    <a:cubicBezTo>
                      <a:pt x="22" y="13"/>
                      <a:pt x="22" y="13"/>
                      <a:pt x="22" y="13"/>
                    </a:cubicBezTo>
                    <a:cubicBezTo>
                      <a:pt x="21" y="12"/>
                      <a:pt x="19" y="12"/>
                      <a:pt x="18" y="12"/>
                    </a:cubicBezTo>
                    <a:cubicBezTo>
                      <a:pt x="15" y="12"/>
                      <a:pt x="15" y="12"/>
                      <a:pt x="15" y="12"/>
                    </a:cubicBezTo>
                    <a:cubicBezTo>
                      <a:pt x="13" y="12"/>
                      <a:pt x="12" y="13"/>
                      <a:pt x="12" y="15"/>
                    </a:cubicBezTo>
                    <a:cubicBezTo>
                      <a:pt x="12" y="17"/>
                      <a:pt x="12" y="17"/>
                      <a:pt x="12" y="17"/>
                    </a:cubicBezTo>
                    <a:cubicBezTo>
                      <a:pt x="12" y="19"/>
                      <a:pt x="13" y="21"/>
                      <a:pt x="13" y="22"/>
                    </a:cubicBezTo>
                    <a:cubicBezTo>
                      <a:pt x="15" y="23"/>
                      <a:pt x="15" y="23"/>
                      <a:pt x="15" y="23"/>
                    </a:cubicBezTo>
                    <a:cubicBezTo>
                      <a:pt x="16" y="25"/>
                      <a:pt x="16" y="26"/>
                      <a:pt x="15" y="28"/>
                    </a:cubicBezTo>
                    <a:cubicBezTo>
                      <a:pt x="12" y="35"/>
                      <a:pt x="12" y="35"/>
                      <a:pt x="12" y="35"/>
                    </a:cubicBezTo>
                    <a:cubicBezTo>
                      <a:pt x="11" y="37"/>
                      <a:pt x="10" y="38"/>
                      <a:pt x="9" y="38"/>
                    </a:cubicBezTo>
                    <a:cubicBezTo>
                      <a:pt x="6" y="38"/>
                      <a:pt x="6" y="38"/>
                      <a:pt x="6" y="38"/>
                    </a:cubicBezTo>
                    <a:cubicBezTo>
                      <a:pt x="5" y="38"/>
                      <a:pt x="3" y="39"/>
                      <a:pt x="2" y="40"/>
                    </a:cubicBezTo>
                    <a:cubicBezTo>
                      <a:pt x="0" y="42"/>
                      <a:pt x="0" y="42"/>
                      <a:pt x="0" y="42"/>
                    </a:cubicBezTo>
                    <a:cubicBezTo>
                      <a:pt x="0" y="43"/>
                      <a:pt x="0" y="45"/>
                      <a:pt x="0" y="46"/>
                    </a:cubicBezTo>
                    <a:cubicBezTo>
                      <a:pt x="2" y="48"/>
                      <a:pt x="2" y="48"/>
                      <a:pt x="2" y="48"/>
                    </a:cubicBezTo>
                    <a:cubicBezTo>
                      <a:pt x="3" y="49"/>
                      <a:pt x="5" y="50"/>
                      <a:pt x="6" y="50"/>
                    </a:cubicBezTo>
                    <a:cubicBezTo>
                      <a:pt x="8" y="50"/>
                      <a:pt x="8" y="50"/>
                      <a:pt x="8" y="50"/>
                    </a:cubicBezTo>
                    <a:cubicBezTo>
                      <a:pt x="10" y="51"/>
                      <a:pt x="11" y="52"/>
                      <a:pt x="11" y="53"/>
                    </a:cubicBezTo>
                    <a:cubicBezTo>
                      <a:pt x="15" y="61"/>
                      <a:pt x="15" y="61"/>
                      <a:pt x="15" y="61"/>
                    </a:cubicBezTo>
                    <a:cubicBezTo>
                      <a:pt x="15" y="62"/>
                      <a:pt x="15" y="64"/>
                      <a:pt x="14" y="65"/>
                    </a:cubicBezTo>
                    <a:cubicBezTo>
                      <a:pt x="13" y="67"/>
                      <a:pt x="13" y="67"/>
                      <a:pt x="13" y="67"/>
                    </a:cubicBezTo>
                    <a:cubicBezTo>
                      <a:pt x="12" y="68"/>
                      <a:pt x="12" y="70"/>
                      <a:pt x="12" y="71"/>
                    </a:cubicBezTo>
                    <a:cubicBezTo>
                      <a:pt x="12" y="74"/>
                      <a:pt x="12" y="74"/>
                      <a:pt x="12" y="74"/>
                    </a:cubicBezTo>
                    <a:cubicBezTo>
                      <a:pt x="12" y="75"/>
                      <a:pt x="13" y="76"/>
                      <a:pt x="14" y="77"/>
                    </a:cubicBezTo>
                    <a:cubicBezTo>
                      <a:pt x="17" y="77"/>
                      <a:pt x="17" y="77"/>
                      <a:pt x="17" y="77"/>
                    </a:cubicBezTo>
                    <a:cubicBezTo>
                      <a:pt x="19" y="77"/>
                      <a:pt x="21" y="76"/>
                      <a:pt x="22" y="75"/>
                    </a:cubicBezTo>
                    <a:cubicBezTo>
                      <a:pt x="23" y="74"/>
                      <a:pt x="23" y="74"/>
                      <a:pt x="23" y="74"/>
                    </a:cubicBezTo>
                    <a:cubicBezTo>
                      <a:pt x="24" y="73"/>
                      <a:pt x="26" y="73"/>
                      <a:pt x="27" y="74"/>
                    </a:cubicBezTo>
                    <a:cubicBezTo>
                      <a:pt x="35" y="78"/>
                      <a:pt x="35" y="78"/>
                      <a:pt x="35" y="78"/>
                    </a:cubicBezTo>
                    <a:cubicBezTo>
                      <a:pt x="37" y="78"/>
                      <a:pt x="38" y="79"/>
                      <a:pt x="38" y="81"/>
                    </a:cubicBezTo>
                    <a:cubicBezTo>
                      <a:pt x="38" y="82"/>
                      <a:pt x="38" y="82"/>
                      <a:pt x="38" y="82"/>
                    </a:cubicBezTo>
                    <a:cubicBezTo>
                      <a:pt x="38" y="84"/>
                      <a:pt x="39" y="85"/>
                      <a:pt x="40" y="86"/>
                    </a:cubicBezTo>
                    <a:cubicBezTo>
                      <a:pt x="42" y="88"/>
                      <a:pt x="42" y="88"/>
                      <a:pt x="42" y="88"/>
                    </a:cubicBezTo>
                    <a:cubicBezTo>
                      <a:pt x="43" y="89"/>
                      <a:pt x="45" y="89"/>
                      <a:pt x="46" y="88"/>
                    </a:cubicBezTo>
                    <a:cubicBezTo>
                      <a:pt x="48" y="86"/>
                      <a:pt x="48" y="86"/>
                      <a:pt x="48" y="86"/>
                    </a:cubicBezTo>
                    <a:cubicBezTo>
                      <a:pt x="49" y="85"/>
                      <a:pt x="50" y="84"/>
                      <a:pt x="50" y="82"/>
                    </a:cubicBezTo>
                    <a:cubicBezTo>
                      <a:pt x="50" y="81"/>
                      <a:pt x="50" y="81"/>
                      <a:pt x="50" y="81"/>
                    </a:cubicBezTo>
                    <a:cubicBezTo>
                      <a:pt x="50" y="80"/>
                      <a:pt x="52" y="78"/>
                      <a:pt x="53" y="78"/>
                    </a:cubicBezTo>
                    <a:cubicBezTo>
                      <a:pt x="62" y="74"/>
                      <a:pt x="62" y="74"/>
                      <a:pt x="62" y="74"/>
                    </a:cubicBezTo>
                    <a:cubicBezTo>
                      <a:pt x="63" y="74"/>
                      <a:pt x="65" y="74"/>
                      <a:pt x="66" y="75"/>
                    </a:cubicBezTo>
                    <a:cubicBezTo>
                      <a:pt x="67" y="76"/>
                      <a:pt x="67" y="76"/>
                      <a:pt x="67" y="76"/>
                    </a:cubicBezTo>
                    <a:cubicBezTo>
                      <a:pt x="68" y="76"/>
                      <a:pt x="70" y="77"/>
                      <a:pt x="71" y="77"/>
                    </a:cubicBezTo>
                    <a:cubicBezTo>
                      <a:pt x="74" y="77"/>
                      <a:pt x="74" y="77"/>
                      <a:pt x="74" y="77"/>
                    </a:cubicBezTo>
                    <a:cubicBezTo>
                      <a:pt x="75" y="77"/>
                      <a:pt x="76" y="76"/>
                      <a:pt x="76" y="74"/>
                    </a:cubicBezTo>
                    <a:cubicBezTo>
                      <a:pt x="77" y="71"/>
                      <a:pt x="77" y="71"/>
                      <a:pt x="77" y="71"/>
                    </a:cubicBezTo>
                    <a:cubicBezTo>
                      <a:pt x="77" y="70"/>
                      <a:pt x="76" y="68"/>
                      <a:pt x="75" y="67"/>
                    </a:cubicBezTo>
                    <a:cubicBezTo>
                      <a:pt x="74" y="66"/>
                      <a:pt x="74" y="66"/>
                      <a:pt x="74" y="66"/>
                    </a:cubicBezTo>
                    <a:cubicBezTo>
                      <a:pt x="74" y="65"/>
                      <a:pt x="73" y="63"/>
                      <a:pt x="74" y="62"/>
                    </a:cubicBezTo>
                    <a:cubicBezTo>
                      <a:pt x="78" y="53"/>
                      <a:pt x="78" y="53"/>
                      <a:pt x="78" y="53"/>
                    </a:cubicBezTo>
                    <a:cubicBezTo>
                      <a:pt x="78" y="52"/>
                      <a:pt x="79" y="51"/>
                      <a:pt x="81" y="51"/>
                    </a:cubicBezTo>
                    <a:lnTo>
                      <a:pt x="82" y="51"/>
                    </a:lnTo>
                    <a:close/>
                    <a:moveTo>
                      <a:pt x="64" y="25"/>
                    </a:moveTo>
                    <a:cubicBezTo>
                      <a:pt x="67" y="28"/>
                      <a:pt x="67" y="33"/>
                      <a:pt x="64" y="36"/>
                    </a:cubicBezTo>
                    <a:cubicBezTo>
                      <a:pt x="61" y="39"/>
                      <a:pt x="57" y="39"/>
                      <a:pt x="54" y="36"/>
                    </a:cubicBezTo>
                    <a:cubicBezTo>
                      <a:pt x="51" y="33"/>
                      <a:pt x="51" y="28"/>
                      <a:pt x="54" y="25"/>
                    </a:cubicBezTo>
                    <a:cubicBezTo>
                      <a:pt x="57" y="22"/>
                      <a:pt x="61" y="22"/>
                      <a:pt x="64" y="25"/>
                    </a:cubicBezTo>
                    <a:close/>
                    <a:moveTo>
                      <a:pt x="40" y="41"/>
                    </a:moveTo>
                    <a:cubicBezTo>
                      <a:pt x="43" y="38"/>
                      <a:pt x="46" y="38"/>
                      <a:pt x="49" y="41"/>
                    </a:cubicBezTo>
                    <a:cubicBezTo>
                      <a:pt x="51" y="43"/>
                      <a:pt x="51" y="47"/>
                      <a:pt x="49" y="49"/>
                    </a:cubicBezTo>
                    <a:cubicBezTo>
                      <a:pt x="46" y="51"/>
                      <a:pt x="43" y="51"/>
                      <a:pt x="40" y="49"/>
                    </a:cubicBezTo>
                    <a:cubicBezTo>
                      <a:pt x="38" y="47"/>
                      <a:pt x="38" y="43"/>
                      <a:pt x="40" y="41"/>
                    </a:cubicBezTo>
                    <a:close/>
                    <a:moveTo>
                      <a:pt x="36" y="36"/>
                    </a:moveTo>
                    <a:cubicBezTo>
                      <a:pt x="33" y="39"/>
                      <a:pt x="28" y="39"/>
                      <a:pt x="25" y="36"/>
                    </a:cubicBezTo>
                    <a:cubicBezTo>
                      <a:pt x="22" y="33"/>
                      <a:pt x="22" y="28"/>
                      <a:pt x="25" y="25"/>
                    </a:cubicBezTo>
                    <a:cubicBezTo>
                      <a:pt x="28" y="22"/>
                      <a:pt x="33" y="22"/>
                      <a:pt x="36" y="25"/>
                    </a:cubicBezTo>
                    <a:cubicBezTo>
                      <a:pt x="39" y="28"/>
                      <a:pt x="39" y="33"/>
                      <a:pt x="36" y="36"/>
                    </a:cubicBezTo>
                    <a:close/>
                    <a:moveTo>
                      <a:pt x="25" y="64"/>
                    </a:moveTo>
                    <a:cubicBezTo>
                      <a:pt x="22" y="61"/>
                      <a:pt x="22" y="57"/>
                      <a:pt x="25" y="54"/>
                    </a:cubicBezTo>
                    <a:cubicBezTo>
                      <a:pt x="28" y="51"/>
                      <a:pt x="33" y="51"/>
                      <a:pt x="36" y="54"/>
                    </a:cubicBezTo>
                    <a:cubicBezTo>
                      <a:pt x="39" y="57"/>
                      <a:pt x="39" y="61"/>
                      <a:pt x="36" y="64"/>
                    </a:cubicBezTo>
                    <a:cubicBezTo>
                      <a:pt x="33" y="67"/>
                      <a:pt x="28" y="67"/>
                      <a:pt x="25" y="64"/>
                    </a:cubicBezTo>
                    <a:close/>
                    <a:moveTo>
                      <a:pt x="54" y="54"/>
                    </a:moveTo>
                    <a:cubicBezTo>
                      <a:pt x="57" y="51"/>
                      <a:pt x="61" y="51"/>
                      <a:pt x="64" y="54"/>
                    </a:cubicBezTo>
                    <a:cubicBezTo>
                      <a:pt x="67" y="57"/>
                      <a:pt x="67" y="61"/>
                      <a:pt x="64" y="64"/>
                    </a:cubicBezTo>
                    <a:cubicBezTo>
                      <a:pt x="61" y="67"/>
                      <a:pt x="57" y="67"/>
                      <a:pt x="54" y="64"/>
                    </a:cubicBezTo>
                    <a:cubicBezTo>
                      <a:pt x="51" y="61"/>
                      <a:pt x="51" y="57"/>
                      <a:pt x="54"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4" name="Freeform 347">
                <a:extLst>
                  <a:ext uri="{FF2B5EF4-FFF2-40B4-BE49-F238E27FC236}">
                    <a16:creationId xmlns:a16="http://schemas.microsoft.com/office/drawing/2014/main" id="{07C07207-C769-40B1-967E-CC9F55DE1922}"/>
                  </a:ext>
                </a:extLst>
              </p:cNvPr>
              <p:cNvSpPr>
                <a:spLocks noEditPoints="1"/>
              </p:cNvSpPr>
              <p:nvPr/>
            </p:nvSpPr>
            <p:spPr bwMode="auto">
              <a:xfrm>
                <a:off x="4065588" y="1833563"/>
                <a:ext cx="109538" cy="109537"/>
              </a:xfrm>
              <a:custGeom>
                <a:avLst/>
                <a:gdLst>
                  <a:gd name="T0" fmla="*/ 15 w 32"/>
                  <a:gd name="T1" fmla="*/ 1 h 32"/>
                  <a:gd name="T2" fmla="*/ 0 w 32"/>
                  <a:gd name="T3" fmla="*/ 17 h 32"/>
                  <a:gd name="T4" fmla="*/ 17 w 32"/>
                  <a:gd name="T5" fmla="*/ 32 h 32"/>
                  <a:gd name="T6" fmla="*/ 31 w 32"/>
                  <a:gd name="T7" fmla="*/ 15 h 32"/>
                  <a:gd name="T8" fmla="*/ 15 w 32"/>
                  <a:gd name="T9" fmla="*/ 1 h 32"/>
                  <a:gd name="T10" fmla="*/ 16 w 32"/>
                  <a:gd name="T11" fmla="*/ 23 h 32"/>
                  <a:gd name="T12" fmla="*/ 9 w 32"/>
                  <a:gd name="T13" fmla="*/ 17 h 32"/>
                  <a:gd name="T14" fmla="*/ 15 w 32"/>
                  <a:gd name="T15" fmla="*/ 9 h 32"/>
                  <a:gd name="T16" fmla="*/ 23 w 32"/>
                  <a:gd name="T17" fmla="*/ 16 h 32"/>
                  <a:gd name="T18" fmla="*/ 16 w 32"/>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5" y="1"/>
                    </a:moveTo>
                    <a:cubicBezTo>
                      <a:pt x="6" y="1"/>
                      <a:pt x="0" y="9"/>
                      <a:pt x="0" y="17"/>
                    </a:cubicBezTo>
                    <a:cubicBezTo>
                      <a:pt x="1" y="26"/>
                      <a:pt x="8" y="32"/>
                      <a:pt x="17" y="32"/>
                    </a:cubicBezTo>
                    <a:cubicBezTo>
                      <a:pt x="26" y="31"/>
                      <a:pt x="32" y="24"/>
                      <a:pt x="31" y="15"/>
                    </a:cubicBezTo>
                    <a:cubicBezTo>
                      <a:pt x="31" y="6"/>
                      <a:pt x="23" y="0"/>
                      <a:pt x="15" y="1"/>
                    </a:cubicBezTo>
                    <a:close/>
                    <a:moveTo>
                      <a:pt x="16" y="23"/>
                    </a:moveTo>
                    <a:cubicBezTo>
                      <a:pt x="13" y="23"/>
                      <a:pt x="9" y="21"/>
                      <a:pt x="9" y="17"/>
                    </a:cubicBezTo>
                    <a:cubicBezTo>
                      <a:pt x="9" y="13"/>
                      <a:pt x="11" y="10"/>
                      <a:pt x="15" y="9"/>
                    </a:cubicBezTo>
                    <a:cubicBezTo>
                      <a:pt x="19" y="9"/>
                      <a:pt x="22" y="12"/>
                      <a:pt x="23" y="16"/>
                    </a:cubicBezTo>
                    <a:cubicBezTo>
                      <a:pt x="23" y="19"/>
                      <a:pt x="20" y="23"/>
                      <a:pt x="1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5" name="Freeform 348">
                <a:extLst>
                  <a:ext uri="{FF2B5EF4-FFF2-40B4-BE49-F238E27FC236}">
                    <a16:creationId xmlns:a16="http://schemas.microsoft.com/office/drawing/2014/main" id="{98614964-EB70-40FB-A7FD-E79E19672729}"/>
                  </a:ext>
                </a:extLst>
              </p:cNvPr>
              <p:cNvSpPr>
                <a:spLocks/>
              </p:cNvSpPr>
              <p:nvPr/>
            </p:nvSpPr>
            <p:spPr bwMode="auto">
              <a:xfrm>
                <a:off x="4100513" y="1812925"/>
                <a:ext cx="26988" cy="34925"/>
              </a:xfrm>
              <a:custGeom>
                <a:avLst/>
                <a:gdLst>
                  <a:gd name="T0" fmla="*/ 8 w 8"/>
                  <a:gd name="T1" fmla="*/ 6 h 10"/>
                  <a:gd name="T2" fmla="*/ 6 w 8"/>
                  <a:gd name="T3" fmla="*/ 10 h 10"/>
                  <a:gd name="T4" fmla="*/ 4 w 8"/>
                  <a:gd name="T5" fmla="*/ 10 h 10"/>
                  <a:gd name="T6" fmla="*/ 1 w 8"/>
                  <a:gd name="T7" fmla="*/ 7 h 10"/>
                  <a:gd name="T8" fmla="*/ 1 w 8"/>
                  <a:gd name="T9" fmla="*/ 4 h 10"/>
                  <a:gd name="T10" fmla="*/ 3 w 8"/>
                  <a:gd name="T11" fmla="*/ 0 h 10"/>
                  <a:gd name="T12" fmla="*/ 5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6" y="10"/>
                    </a:cubicBezTo>
                    <a:cubicBezTo>
                      <a:pt x="4" y="10"/>
                      <a:pt x="4" y="10"/>
                      <a:pt x="4" y="10"/>
                    </a:cubicBezTo>
                    <a:cubicBezTo>
                      <a:pt x="2" y="10"/>
                      <a:pt x="1" y="9"/>
                      <a:pt x="1" y="7"/>
                    </a:cubicBezTo>
                    <a:cubicBezTo>
                      <a:pt x="1" y="4"/>
                      <a:pt x="1" y="4"/>
                      <a:pt x="1" y="4"/>
                    </a:cubicBezTo>
                    <a:cubicBezTo>
                      <a:pt x="0" y="2"/>
                      <a:pt x="2" y="1"/>
                      <a:pt x="3" y="0"/>
                    </a:cubicBezTo>
                    <a:cubicBezTo>
                      <a:pt x="5" y="0"/>
                      <a:pt x="5" y="0"/>
                      <a:pt x="5" y="0"/>
                    </a:cubicBezTo>
                    <a:cubicBezTo>
                      <a:pt x="6" y="0"/>
                      <a:pt x="8"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6" name="Freeform 349">
                <a:extLst>
                  <a:ext uri="{FF2B5EF4-FFF2-40B4-BE49-F238E27FC236}">
                    <a16:creationId xmlns:a16="http://schemas.microsoft.com/office/drawing/2014/main" id="{F2FE6746-40EF-4AC7-BA57-8EB809441676}"/>
                  </a:ext>
                </a:extLst>
              </p:cNvPr>
              <p:cNvSpPr>
                <a:spLocks/>
              </p:cNvSpPr>
              <p:nvPr/>
            </p:nvSpPr>
            <p:spPr bwMode="auto">
              <a:xfrm>
                <a:off x="4068763" y="1919288"/>
                <a:ext cx="34925" cy="33337"/>
              </a:xfrm>
              <a:custGeom>
                <a:avLst/>
                <a:gdLst>
                  <a:gd name="T0" fmla="*/ 7 w 10"/>
                  <a:gd name="T1" fmla="*/ 9 h 10"/>
                  <a:gd name="T2" fmla="*/ 3 w 10"/>
                  <a:gd name="T3" fmla="*/ 9 h 10"/>
                  <a:gd name="T4" fmla="*/ 2 w 10"/>
                  <a:gd name="T5" fmla="*/ 8 h 10"/>
                  <a:gd name="T6" fmla="*/ 1 w 10"/>
                  <a:gd name="T7" fmla="*/ 4 h 10"/>
                  <a:gd name="T8" fmla="*/ 3 w 10"/>
                  <a:gd name="T9" fmla="*/ 2 h 10"/>
                  <a:gd name="T10" fmla="*/ 7 w 10"/>
                  <a:gd name="T11" fmla="*/ 1 h 10"/>
                  <a:gd name="T12" fmla="*/ 8 w 10"/>
                  <a:gd name="T13" fmla="*/ 2 h 10"/>
                  <a:gd name="T14" fmla="*/ 9 w 10"/>
                  <a:gd name="T15" fmla="*/ 6 h 10"/>
                  <a:gd name="T16" fmla="*/ 7 w 10"/>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7" y="9"/>
                    </a:moveTo>
                    <a:cubicBezTo>
                      <a:pt x="6" y="10"/>
                      <a:pt x="4" y="10"/>
                      <a:pt x="3" y="9"/>
                    </a:cubicBezTo>
                    <a:cubicBezTo>
                      <a:pt x="2" y="8"/>
                      <a:pt x="2" y="8"/>
                      <a:pt x="2" y="8"/>
                    </a:cubicBezTo>
                    <a:cubicBezTo>
                      <a:pt x="0" y="7"/>
                      <a:pt x="0" y="6"/>
                      <a:pt x="1" y="4"/>
                    </a:cubicBezTo>
                    <a:cubicBezTo>
                      <a:pt x="3" y="2"/>
                      <a:pt x="3" y="2"/>
                      <a:pt x="3" y="2"/>
                    </a:cubicBezTo>
                    <a:cubicBezTo>
                      <a:pt x="4" y="0"/>
                      <a:pt x="6" y="0"/>
                      <a:pt x="7" y="1"/>
                    </a:cubicBezTo>
                    <a:cubicBezTo>
                      <a:pt x="8" y="2"/>
                      <a:pt x="8" y="2"/>
                      <a:pt x="8" y="2"/>
                    </a:cubicBezTo>
                    <a:cubicBezTo>
                      <a:pt x="10" y="3"/>
                      <a:pt x="10"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7" name="Freeform 350">
                <a:extLst>
                  <a:ext uri="{FF2B5EF4-FFF2-40B4-BE49-F238E27FC236}">
                    <a16:creationId xmlns:a16="http://schemas.microsoft.com/office/drawing/2014/main" id="{A8A1C9E1-A36F-4740-B354-CA7D8728FD18}"/>
                  </a:ext>
                </a:extLst>
              </p:cNvPr>
              <p:cNvSpPr>
                <a:spLocks/>
              </p:cNvSpPr>
              <p:nvPr/>
            </p:nvSpPr>
            <p:spPr bwMode="auto">
              <a:xfrm>
                <a:off x="4144963" y="1911350"/>
                <a:ext cx="33338" cy="34925"/>
              </a:xfrm>
              <a:custGeom>
                <a:avLst/>
                <a:gdLst>
                  <a:gd name="T0" fmla="*/ 9 w 10"/>
                  <a:gd name="T1" fmla="*/ 4 h 10"/>
                  <a:gd name="T2" fmla="*/ 9 w 10"/>
                  <a:gd name="T3" fmla="*/ 8 h 10"/>
                  <a:gd name="T4" fmla="*/ 8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9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4"/>
                    </a:moveTo>
                    <a:cubicBezTo>
                      <a:pt x="10" y="5"/>
                      <a:pt x="10" y="7"/>
                      <a:pt x="9" y="8"/>
                    </a:cubicBezTo>
                    <a:cubicBezTo>
                      <a:pt x="8" y="9"/>
                      <a:pt x="8" y="9"/>
                      <a:pt x="8" y="9"/>
                    </a:cubicBezTo>
                    <a:cubicBezTo>
                      <a:pt x="6" y="10"/>
                      <a:pt x="5" y="10"/>
                      <a:pt x="3" y="9"/>
                    </a:cubicBezTo>
                    <a:cubicBezTo>
                      <a:pt x="1" y="7"/>
                      <a:pt x="1" y="7"/>
                      <a:pt x="1" y="7"/>
                    </a:cubicBezTo>
                    <a:cubicBezTo>
                      <a:pt x="0" y="6"/>
                      <a:pt x="0" y="4"/>
                      <a:pt x="1" y="3"/>
                    </a:cubicBezTo>
                    <a:cubicBezTo>
                      <a:pt x="2" y="2"/>
                      <a:pt x="2" y="2"/>
                      <a:pt x="2" y="2"/>
                    </a:cubicBezTo>
                    <a:cubicBezTo>
                      <a:pt x="3" y="0"/>
                      <a:pt x="5" y="0"/>
                      <a:pt x="6" y="2"/>
                    </a:cubicBez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8" name="Freeform 351">
                <a:extLst>
                  <a:ext uri="{FF2B5EF4-FFF2-40B4-BE49-F238E27FC236}">
                    <a16:creationId xmlns:a16="http://schemas.microsoft.com/office/drawing/2014/main" id="{90007038-A7A9-4387-9026-0316A4A45161}"/>
                  </a:ext>
                </a:extLst>
              </p:cNvPr>
              <p:cNvSpPr>
                <a:spLocks/>
              </p:cNvSpPr>
              <p:nvPr/>
            </p:nvSpPr>
            <p:spPr bwMode="auto">
              <a:xfrm>
                <a:off x="4154488" y="1843088"/>
                <a:ext cx="34925" cy="34925"/>
              </a:xfrm>
              <a:custGeom>
                <a:avLst/>
                <a:gdLst>
                  <a:gd name="T0" fmla="*/ 5 w 10"/>
                  <a:gd name="T1" fmla="*/ 1 h 10"/>
                  <a:gd name="T2" fmla="*/ 9 w 10"/>
                  <a:gd name="T3" fmla="*/ 3 h 10"/>
                  <a:gd name="T4" fmla="*/ 10 w 10"/>
                  <a:gd name="T5" fmla="*/ 4 h 10"/>
                  <a:gd name="T6" fmla="*/ 8 w 10"/>
                  <a:gd name="T7" fmla="*/ 8 h 10"/>
                  <a:gd name="T8" fmla="*/ 5 w 10"/>
                  <a:gd name="T9" fmla="*/ 9 h 10"/>
                  <a:gd name="T10" fmla="*/ 1 w 10"/>
                  <a:gd name="T11" fmla="*/ 8 h 10"/>
                  <a:gd name="T12" fmla="*/ 1 w 10"/>
                  <a:gd name="T13" fmla="*/ 7 h 10"/>
                  <a:gd name="T14" fmla="*/ 2 w 10"/>
                  <a:gd name="T15" fmla="*/ 3 h 10"/>
                  <a:gd name="T16" fmla="*/ 5 w 10"/>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5" y="1"/>
                    </a:moveTo>
                    <a:cubicBezTo>
                      <a:pt x="6" y="0"/>
                      <a:pt x="8" y="1"/>
                      <a:pt x="9" y="3"/>
                    </a:cubicBezTo>
                    <a:cubicBezTo>
                      <a:pt x="10" y="4"/>
                      <a:pt x="10" y="4"/>
                      <a:pt x="10" y="4"/>
                    </a:cubicBezTo>
                    <a:cubicBezTo>
                      <a:pt x="10" y="5"/>
                      <a:pt x="10" y="7"/>
                      <a:pt x="8" y="8"/>
                    </a:cubicBezTo>
                    <a:cubicBezTo>
                      <a:pt x="5" y="9"/>
                      <a:pt x="5" y="9"/>
                      <a:pt x="5" y="9"/>
                    </a:cubicBezTo>
                    <a:cubicBezTo>
                      <a:pt x="4" y="10"/>
                      <a:pt x="2" y="10"/>
                      <a:pt x="1" y="8"/>
                    </a:cubicBezTo>
                    <a:cubicBezTo>
                      <a:pt x="1" y="7"/>
                      <a:pt x="1" y="7"/>
                      <a:pt x="1" y="7"/>
                    </a:cubicBezTo>
                    <a:cubicBezTo>
                      <a:pt x="0" y="5"/>
                      <a:pt x="0"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9" name="Freeform 352">
                <a:extLst>
                  <a:ext uri="{FF2B5EF4-FFF2-40B4-BE49-F238E27FC236}">
                    <a16:creationId xmlns:a16="http://schemas.microsoft.com/office/drawing/2014/main" id="{55B48E8D-ED2C-4987-A1E5-3A76FAFC7382}"/>
                  </a:ext>
                </a:extLst>
              </p:cNvPr>
              <p:cNvSpPr>
                <a:spLocks/>
              </p:cNvSpPr>
              <p:nvPr/>
            </p:nvSpPr>
            <p:spPr bwMode="auto">
              <a:xfrm>
                <a:off x="4044951" y="1854200"/>
                <a:ext cx="38100" cy="33337"/>
              </a:xfrm>
              <a:custGeom>
                <a:avLst/>
                <a:gdLst>
                  <a:gd name="T0" fmla="*/ 3 w 11"/>
                  <a:gd name="T1" fmla="*/ 8 h 10"/>
                  <a:gd name="T2" fmla="*/ 1 w 11"/>
                  <a:gd name="T3" fmla="*/ 4 h 10"/>
                  <a:gd name="T4" fmla="*/ 1 w 11"/>
                  <a:gd name="T5" fmla="*/ 3 h 10"/>
                  <a:gd name="T6" fmla="*/ 5 w 11"/>
                  <a:gd name="T7" fmla="*/ 1 h 10"/>
                  <a:gd name="T8" fmla="*/ 8 w 11"/>
                  <a:gd name="T9" fmla="*/ 2 h 10"/>
                  <a:gd name="T10" fmla="*/ 10 w 11"/>
                  <a:gd name="T11" fmla="*/ 6 h 10"/>
                  <a:gd name="T12" fmla="*/ 10 w 11"/>
                  <a:gd name="T13" fmla="*/ 7 h 10"/>
                  <a:gd name="T14" fmla="*/ 6 w 11"/>
                  <a:gd name="T15" fmla="*/ 9 h 10"/>
                  <a:gd name="T16" fmla="*/ 3 w 11"/>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3" y="8"/>
                    </a:moveTo>
                    <a:cubicBezTo>
                      <a:pt x="1" y="7"/>
                      <a:pt x="0" y="6"/>
                      <a:pt x="1" y="4"/>
                    </a:cubicBezTo>
                    <a:cubicBezTo>
                      <a:pt x="1" y="3"/>
                      <a:pt x="1" y="3"/>
                      <a:pt x="1" y="3"/>
                    </a:cubicBezTo>
                    <a:cubicBezTo>
                      <a:pt x="2" y="1"/>
                      <a:pt x="4" y="0"/>
                      <a:pt x="5" y="1"/>
                    </a:cubicBezTo>
                    <a:cubicBezTo>
                      <a:pt x="8" y="2"/>
                      <a:pt x="8" y="2"/>
                      <a:pt x="8" y="2"/>
                    </a:cubicBezTo>
                    <a:cubicBezTo>
                      <a:pt x="10" y="2"/>
                      <a:pt x="11" y="4"/>
                      <a:pt x="10" y="6"/>
                    </a:cubicBezTo>
                    <a:cubicBezTo>
                      <a:pt x="10" y="7"/>
                      <a:pt x="10" y="7"/>
                      <a:pt x="10" y="7"/>
                    </a:cubicBezTo>
                    <a:cubicBezTo>
                      <a:pt x="9" y="9"/>
                      <a:pt x="7" y="10"/>
                      <a:pt x="6" y="9"/>
                    </a:cubicBez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0" name="Freeform 353">
                <a:extLst>
                  <a:ext uri="{FF2B5EF4-FFF2-40B4-BE49-F238E27FC236}">
                    <a16:creationId xmlns:a16="http://schemas.microsoft.com/office/drawing/2014/main" id="{D32E4480-CBDE-4B3F-AC45-26E314725236}"/>
                  </a:ext>
                </a:extLst>
              </p:cNvPr>
              <p:cNvSpPr>
                <a:spLocks noEditPoints="1"/>
              </p:cNvSpPr>
              <p:nvPr/>
            </p:nvSpPr>
            <p:spPr bwMode="auto">
              <a:xfrm>
                <a:off x="3617913" y="1643063"/>
                <a:ext cx="400050" cy="398462"/>
              </a:xfrm>
              <a:custGeom>
                <a:avLst/>
                <a:gdLst>
                  <a:gd name="T0" fmla="*/ 55 w 117"/>
                  <a:gd name="T1" fmla="*/ 2 h 117"/>
                  <a:gd name="T2" fmla="*/ 2 w 117"/>
                  <a:gd name="T3" fmla="*/ 62 h 117"/>
                  <a:gd name="T4" fmla="*/ 62 w 117"/>
                  <a:gd name="T5" fmla="*/ 115 h 117"/>
                  <a:gd name="T6" fmla="*/ 115 w 117"/>
                  <a:gd name="T7" fmla="*/ 55 h 117"/>
                  <a:gd name="T8" fmla="*/ 55 w 117"/>
                  <a:gd name="T9" fmla="*/ 2 h 117"/>
                  <a:gd name="T10" fmla="*/ 60 w 117"/>
                  <a:gd name="T11" fmla="*/ 85 h 117"/>
                  <a:gd name="T12" fmla="*/ 32 w 117"/>
                  <a:gd name="T13" fmla="*/ 60 h 117"/>
                  <a:gd name="T14" fmla="*/ 57 w 117"/>
                  <a:gd name="T15" fmla="*/ 32 h 117"/>
                  <a:gd name="T16" fmla="*/ 85 w 117"/>
                  <a:gd name="T17" fmla="*/ 57 h 117"/>
                  <a:gd name="T18" fmla="*/ 60 w 117"/>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5" y="2"/>
                    </a:moveTo>
                    <a:cubicBezTo>
                      <a:pt x="24" y="4"/>
                      <a:pt x="0" y="31"/>
                      <a:pt x="2" y="62"/>
                    </a:cubicBezTo>
                    <a:cubicBezTo>
                      <a:pt x="4" y="93"/>
                      <a:pt x="31" y="117"/>
                      <a:pt x="62" y="115"/>
                    </a:cubicBezTo>
                    <a:cubicBezTo>
                      <a:pt x="93" y="113"/>
                      <a:pt x="117" y="86"/>
                      <a:pt x="115" y="55"/>
                    </a:cubicBezTo>
                    <a:cubicBezTo>
                      <a:pt x="112" y="24"/>
                      <a:pt x="86" y="0"/>
                      <a:pt x="55" y="2"/>
                    </a:cubicBezTo>
                    <a:close/>
                    <a:moveTo>
                      <a:pt x="60" y="85"/>
                    </a:moveTo>
                    <a:cubicBezTo>
                      <a:pt x="45" y="86"/>
                      <a:pt x="33" y="75"/>
                      <a:pt x="32" y="60"/>
                    </a:cubicBezTo>
                    <a:cubicBezTo>
                      <a:pt x="31" y="46"/>
                      <a:pt x="42" y="33"/>
                      <a:pt x="57" y="32"/>
                    </a:cubicBezTo>
                    <a:cubicBezTo>
                      <a:pt x="71" y="31"/>
                      <a:pt x="84" y="42"/>
                      <a:pt x="85" y="57"/>
                    </a:cubicBezTo>
                    <a:cubicBezTo>
                      <a:pt x="86" y="71"/>
                      <a:pt x="75"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1" name="Freeform 354">
                <a:extLst>
                  <a:ext uri="{FF2B5EF4-FFF2-40B4-BE49-F238E27FC236}">
                    <a16:creationId xmlns:a16="http://schemas.microsoft.com/office/drawing/2014/main" id="{72C33022-96D8-4C08-A714-690D1D7EAA0C}"/>
                  </a:ext>
                </a:extLst>
              </p:cNvPr>
              <p:cNvSpPr>
                <a:spLocks/>
              </p:cNvSpPr>
              <p:nvPr/>
            </p:nvSpPr>
            <p:spPr bwMode="auto">
              <a:xfrm>
                <a:off x="3775076" y="1604963"/>
                <a:ext cx="68263" cy="115887"/>
              </a:xfrm>
              <a:custGeom>
                <a:avLst/>
                <a:gdLst>
                  <a:gd name="T0" fmla="*/ 19 w 20"/>
                  <a:gd name="T1" fmla="*/ 28 h 34"/>
                  <a:gd name="T2" fmla="*/ 15 w 20"/>
                  <a:gd name="T3" fmla="*/ 33 h 34"/>
                  <a:gd name="T4" fmla="*/ 5 w 20"/>
                  <a:gd name="T5" fmla="*/ 34 h 34"/>
                  <a:gd name="T6" fmla="*/ 0 w 20"/>
                  <a:gd name="T7" fmla="*/ 29 h 34"/>
                  <a:gd name="T8" fmla="*/ 2 w 20"/>
                  <a:gd name="T9" fmla="*/ 5 h 34"/>
                  <a:gd name="T10" fmla="*/ 7 w 20"/>
                  <a:gd name="T11" fmla="*/ 0 h 34"/>
                  <a:gd name="T12" fmla="*/ 8 w 20"/>
                  <a:gd name="T13" fmla="*/ 0 h 34"/>
                  <a:gd name="T14" fmla="*/ 14 w 20"/>
                  <a:gd name="T15" fmla="*/ 5 h 34"/>
                  <a:gd name="T16" fmla="*/ 19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9" y="28"/>
                    </a:moveTo>
                    <a:cubicBezTo>
                      <a:pt x="20" y="30"/>
                      <a:pt x="18" y="33"/>
                      <a:pt x="15" y="33"/>
                    </a:cubicBezTo>
                    <a:cubicBezTo>
                      <a:pt x="5" y="34"/>
                      <a:pt x="5" y="34"/>
                      <a:pt x="5" y="34"/>
                    </a:cubicBezTo>
                    <a:cubicBezTo>
                      <a:pt x="2" y="34"/>
                      <a:pt x="0" y="32"/>
                      <a:pt x="0" y="29"/>
                    </a:cubicBezTo>
                    <a:cubicBezTo>
                      <a:pt x="2" y="5"/>
                      <a:pt x="2" y="5"/>
                      <a:pt x="2" y="5"/>
                    </a:cubicBezTo>
                    <a:cubicBezTo>
                      <a:pt x="2" y="3"/>
                      <a:pt x="4" y="0"/>
                      <a:pt x="7" y="0"/>
                    </a:cubicBezTo>
                    <a:cubicBezTo>
                      <a:pt x="8" y="0"/>
                      <a:pt x="8" y="0"/>
                      <a:pt x="8" y="0"/>
                    </a:cubicBezTo>
                    <a:cubicBezTo>
                      <a:pt x="11" y="0"/>
                      <a:pt x="14" y="2"/>
                      <a:pt x="14" y="5"/>
                    </a:cubicBezTo>
                    <a:lnTo>
                      <a:pt x="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2" name="Freeform 355">
                <a:extLst>
                  <a:ext uri="{FF2B5EF4-FFF2-40B4-BE49-F238E27FC236}">
                    <a16:creationId xmlns:a16="http://schemas.microsoft.com/office/drawing/2014/main" id="{F6FB41AD-C3D1-4D5A-B2CE-2C2A2099101D}"/>
                  </a:ext>
                </a:extLst>
              </p:cNvPr>
              <p:cNvSpPr>
                <a:spLocks/>
              </p:cNvSpPr>
              <p:nvPr/>
            </p:nvSpPr>
            <p:spPr bwMode="auto">
              <a:xfrm>
                <a:off x="3792538" y="1962150"/>
                <a:ext cx="68263" cy="115887"/>
              </a:xfrm>
              <a:custGeom>
                <a:avLst/>
                <a:gdLst>
                  <a:gd name="T0" fmla="*/ 0 w 20"/>
                  <a:gd name="T1" fmla="*/ 7 h 34"/>
                  <a:gd name="T2" fmla="*/ 5 w 20"/>
                  <a:gd name="T3" fmla="*/ 1 h 34"/>
                  <a:gd name="T4" fmla="*/ 15 w 20"/>
                  <a:gd name="T5" fmla="*/ 0 h 34"/>
                  <a:gd name="T6" fmla="*/ 20 w 20"/>
                  <a:gd name="T7" fmla="*/ 5 h 34"/>
                  <a:gd name="T8" fmla="*/ 18 w 20"/>
                  <a:gd name="T9" fmla="*/ 29 h 34"/>
                  <a:gd name="T10" fmla="*/ 12 w 20"/>
                  <a:gd name="T11" fmla="*/ 34 h 34"/>
                  <a:gd name="T12" fmla="*/ 11 w 20"/>
                  <a:gd name="T13" fmla="*/ 34 h 34"/>
                  <a:gd name="T14" fmla="*/ 5 w 20"/>
                  <a:gd name="T15" fmla="*/ 30 h 34"/>
                  <a:gd name="T16" fmla="*/ 0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0" y="7"/>
                    </a:moveTo>
                    <a:cubicBezTo>
                      <a:pt x="0" y="4"/>
                      <a:pt x="2" y="1"/>
                      <a:pt x="5" y="1"/>
                    </a:cubicBezTo>
                    <a:cubicBezTo>
                      <a:pt x="15" y="0"/>
                      <a:pt x="15" y="0"/>
                      <a:pt x="15" y="0"/>
                    </a:cubicBezTo>
                    <a:cubicBezTo>
                      <a:pt x="18" y="0"/>
                      <a:pt x="20" y="2"/>
                      <a:pt x="20" y="5"/>
                    </a:cubicBezTo>
                    <a:cubicBezTo>
                      <a:pt x="18" y="29"/>
                      <a:pt x="18" y="29"/>
                      <a:pt x="18" y="29"/>
                    </a:cubicBezTo>
                    <a:cubicBezTo>
                      <a:pt x="18" y="32"/>
                      <a:pt x="15" y="34"/>
                      <a:pt x="12" y="34"/>
                    </a:cubicBezTo>
                    <a:cubicBezTo>
                      <a:pt x="11" y="34"/>
                      <a:pt x="11" y="34"/>
                      <a:pt x="11" y="34"/>
                    </a:cubicBezTo>
                    <a:cubicBezTo>
                      <a:pt x="9" y="34"/>
                      <a:pt x="6" y="32"/>
                      <a:pt x="5" y="3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3" name="Freeform 356">
                <a:extLst>
                  <a:ext uri="{FF2B5EF4-FFF2-40B4-BE49-F238E27FC236}">
                    <a16:creationId xmlns:a16="http://schemas.microsoft.com/office/drawing/2014/main" id="{BD431F67-FE2A-4CE5-B36E-43FE9342DE89}"/>
                  </a:ext>
                </a:extLst>
              </p:cNvPr>
              <p:cNvSpPr>
                <a:spLocks/>
              </p:cNvSpPr>
              <p:nvPr/>
            </p:nvSpPr>
            <p:spPr bwMode="auto">
              <a:xfrm>
                <a:off x="3576638" y="1816100"/>
                <a:ext cx="119063" cy="68262"/>
              </a:xfrm>
              <a:custGeom>
                <a:avLst/>
                <a:gdLst>
                  <a:gd name="T0" fmla="*/ 28 w 35"/>
                  <a:gd name="T1" fmla="*/ 1 h 20"/>
                  <a:gd name="T2" fmla="*/ 34 w 35"/>
                  <a:gd name="T3" fmla="*/ 5 h 20"/>
                  <a:gd name="T4" fmla="*/ 34 w 35"/>
                  <a:gd name="T5" fmla="*/ 15 h 20"/>
                  <a:gd name="T6" fmla="*/ 30 w 35"/>
                  <a:gd name="T7" fmla="*/ 20 h 20"/>
                  <a:gd name="T8" fmla="*/ 6 w 35"/>
                  <a:gd name="T9" fmla="*/ 18 h 20"/>
                  <a:gd name="T10" fmla="*/ 1 w 35"/>
                  <a:gd name="T11" fmla="*/ 13 h 20"/>
                  <a:gd name="T12" fmla="*/ 1 w 35"/>
                  <a:gd name="T13" fmla="*/ 12 h 20"/>
                  <a:gd name="T14" fmla="*/ 5 w 35"/>
                  <a:gd name="T15" fmla="*/ 5 h 20"/>
                  <a:gd name="T16" fmla="*/ 28 w 35"/>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0">
                    <a:moveTo>
                      <a:pt x="28" y="1"/>
                    </a:moveTo>
                    <a:cubicBezTo>
                      <a:pt x="31" y="0"/>
                      <a:pt x="34" y="2"/>
                      <a:pt x="34" y="5"/>
                    </a:cubicBezTo>
                    <a:cubicBezTo>
                      <a:pt x="34" y="15"/>
                      <a:pt x="34" y="15"/>
                      <a:pt x="34" y="15"/>
                    </a:cubicBezTo>
                    <a:cubicBezTo>
                      <a:pt x="35" y="18"/>
                      <a:pt x="32" y="20"/>
                      <a:pt x="30" y="20"/>
                    </a:cubicBezTo>
                    <a:cubicBezTo>
                      <a:pt x="6" y="18"/>
                      <a:pt x="6" y="18"/>
                      <a:pt x="6" y="18"/>
                    </a:cubicBezTo>
                    <a:cubicBezTo>
                      <a:pt x="3" y="18"/>
                      <a:pt x="1" y="15"/>
                      <a:pt x="1" y="13"/>
                    </a:cubicBezTo>
                    <a:cubicBezTo>
                      <a:pt x="1" y="12"/>
                      <a:pt x="1" y="12"/>
                      <a:pt x="1" y="12"/>
                    </a:cubicBezTo>
                    <a:cubicBezTo>
                      <a:pt x="0" y="9"/>
                      <a:pt x="3"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4" name="Freeform 357">
                <a:extLst>
                  <a:ext uri="{FF2B5EF4-FFF2-40B4-BE49-F238E27FC236}">
                    <a16:creationId xmlns:a16="http://schemas.microsoft.com/office/drawing/2014/main" id="{C8A73F54-9A3C-4728-BA3E-4BDD44DF28DD}"/>
                  </a:ext>
                </a:extLst>
              </p:cNvPr>
              <p:cNvSpPr>
                <a:spLocks/>
              </p:cNvSpPr>
              <p:nvPr/>
            </p:nvSpPr>
            <p:spPr bwMode="auto">
              <a:xfrm>
                <a:off x="3938588" y="1798638"/>
                <a:ext cx="117475" cy="68262"/>
              </a:xfrm>
              <a:custGeom>
                <a:avLst/>
                <a:gdLst>
                  <a:gd name="T0" fmla="*/ 6 w 34"/>
                  <a:gd name="T1" fmla="*/ 19 h 20"/>
                  <a:gd name="T2" fmla="*/ 1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1" y="15"/>
                    </a:cubicBezTo>
                    <a:cubicBezTo>
                      <a:pt x="0" y="5"/>
                      <a:pt x="0" y="5"/>
                      <a:pt x="0" y="5"/>
                    </a:cubicBezTo>
                    <a:cubicBezTo>
                      <a:pt x="0" y="2"/>
                      <a:pt x="2" y="0"/>
                      <a:pt x="5" y="0"/>
                    </a:cubicBezTo>
                    <a:cubicBezTo>
                      <a:pt x="28" y="2"/>
                      <a:pt x="28" y="2"/>
                      <a:pt x="28" y="2"/>
                    </a:cubicBezTo>
                    <a:cubicBezTo>
                      <a:pt x="31" y="2"/>
                      <a:pt x="34"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5" name="Freeform 358">
                <a:extLst>
                  <a:ext uri="{FF2B5EF4-FFF2-40B4-BE49-F238E27FC236}">
                    <a16:creationId xmlns:a16="http://schemas.microsoft.com/office/drawing/2014/main" id="{61218F44-B5F6-4785-9B3C-10A5A54F1923}"/>
                  </a:ext>
                </a:extLst>
              </p:cNvPr>
              <p:cNvSpPr>
                <a:spLocks/>
              </p:cNvSpPr>
              <p:nvPr/>
            </p:nvSpPr>
            <p:spPr bwMode="auto">
              <a:xfrm>
                <a:off x="3630613" y="1676400"/>
                <a:ext cx="109538" cy="106362"/>
              </a:xfrm>
              <a:custGeom>
                <a:avLst/>
                <a:gdLst>
                  <a:gd name="T0" fmla="*/ 29 w 32"/>
                  <a:gd name="T1" fmla="*/ 14 h 31"/>
                  <a:gd name="T2" fmla="*/ 30 w 32"/>
                  <a:gd name="T3" fmla="*/ 21 h 31"/>
                  <a:gd name="T4" fmla="*/ 24 w 32"/>
                  <a:gd name="T5" fmla="*/ 28 h 31"/>
                  <a:gd name="T6" fmla="*/ 17 w 32"/>
                  <a:gd name="T7" fmla="*/ 28 h 31"/>
                  <a:gd name="T8" fmla="*/ 1 w 32"/>
                  <a:gd name="T9" fmla="*/ 11 h 31"/>
                  <a:gd name="T10" fmla="*/ 1 w 32"/>
                  <a:gd name="T11" fmla="*/ 3 h 31"/>
                  <a:gd name="T12" fmla="*/ 2 w 32"/>
                  <a:gd name="T13" fmla="*/ 2 h 31"/>
                  <a:gd name="T14" fmla="*/ 10 w 32"/>
                  <a:gd name="T15" fmla="*/ 1 h 31"/>
                  <a:gd name="T16" fmla="*/ 29 w 32"/>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1">
                    <a:moveTo>
                      <a:pt x="29" y="14"/>
                    </a:moveTo>
                    <a:cubicBezTo>
                      <a:pt x="32" y="16"/>
                      <a:pt x="32" y="19"/>
                      <a:pt x="30" y="21"/>
                    </a:cubicBezTo>
                    <a:cubicBezTo>
                      <a:pt x="24" y="28"/>
                      <a:pt x="24" y="28"/>
                      <a:pt x="24" y="28"/>
                    </a:cubicBezTo>
                    <a:cubicBezTo>
                      <a:pt x="22" y="31"/>
                      <a:pt x="19" y="31"/>
                      <a:pt x="17" y="28"/>
                    </a:cubicBezTo>
                    <a:cubicBezTo>
                      <a:pt x="1" y="11"/>
                      <a:pt x="1" y="11"/>
                      <a:pt x="1" y="11"/>
                    </a:cubicBezTo>
                    <a:cubicBezTo>
                      <a:pt x="0" y="9"/>
                      <a:pt x="0" y="5"/>
                      <a:pt x="1" y="3"/>
                    </a:cubicBezTo>
                    <a:cubicBezTo>
                      <a:pt x="2" y="2"/>
                      <a:pt x="2" y="2"/>
                      <a:pt x="2" y="2"/>
                    </a:cubicBezTo>
                    <a:cubicBezTo>
                      <a:pt x="4" y="0"/>
                      <a:pt x="7" y="0"/>
                      <a:pt x="10" y="1"/>
                    </a:cubicBezTo>
                    <a:lnTo>
                      <a:pt x="2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6" name="Freeform 359">
                <a:extLst>
                  <a:ext uri="{FF2B5EF4-FFF2-40B4-BE49-F238E27FC236}">
                    <a16:creationId xmlns:a16="http://schemas.microsoft.com/office/drawing/2014/main" id="{E0D55DDD-EA1A-4BC5-8AC3-2A3A23376596}"/>
                  </a:ext>
                </a:extLst>
              </p:cNvPr>
              <p:cNvSpPr>
                <a:spLocks/>
              </p:cNvSpPr>
              <p:nvPr/>
            </p:nvSpPr>
            <p:spPr bwMode="auto">
              <a:xfrm>
                <a:off x="3890963" y="1901825"/>
                <a:ext cx="112713" cy="109537"/>
              </a:xfrm>
              <a:custGeom>
                <a:avLst/>
                <a:gdLst>
                  <a:gd name="T0" fmla="*/ 3 w 33"/>
                  <a:gd name="T1" fmla="*/ 17 h 32"/>
                  <a:gd name="T2" fmla="*/ 2 w 33"/>
                  <a:gd name="T3" fmla="*/ 10 h 32"/>
                  <a:gd name="T4" fmla="*/ 9 w 33"/>
                  <a:gd name="T5" fmla="*/ 3 h 32"/>
                  <a:gd name="T6" fmla="*/ 16 w 33"/>
                  <a:gd name="T7" fmla="*/ 3 h 32"/>
                  <a:gd name="T8" fmla="*/ 31 w 33"/>
                  <a:gd name="T9" fmla="*/ 20 h 32"/>
                  <a:gd name="T10" fmla="*/ 31 w 33"/>
                  <a:gd name="T11" fmla="*/ 28 h 32"/>
                  <a:gd name="T12" fmla="*/ 30 w 33"/>
                  <a:gd name="T13" fmla="*/ 29 h 32"/>
                  <a:gd name="T14" fmla="*/ 23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1" y="16"/>
                      <a:pt x="0" y="13"/>
                      <a:pt x="2" y="10"/>
                    </a:cubicBezTo>
                    <a:cubicBezTo>
                      <a:pt x="9" y="3"/>
                      <a:pt x="9" y="3"/>
                      <a:pt x="9" y="3"/>
                    </a:cubicBezTo>
                    <a:cubicBezTo>
                      <a:pt x="11" y="0"/>
                      <a:pt x="14" y="0"/>
                      <a:pt x="16" y="3"/>
                    </a:cubicBezTo>
                    <a:cubicBezTo>
                      <a:pt x="31" y="20"/>
                      <a:pt x="31" y="20"/>
                      <a:pt x="31" y="20"/>
                    </a:cubicBezTo>
                    <a:cubicBezTo>
                      <a:pt x="33" y="23"/>
                      <a:pt x="33" y="26"/>
                      <a:pt x="31" y="28"/>
                    </a:cubicBezTo>
                    <a:cubicBezTo>
                      <a:pt x="30" y="29"/>
                      <a:pt x="30" y="29"/>
                      <a:pt x="30" y="29"/>
                    </a:cubicBezTo>
                    <a:cubicBezTo>
                      <a:pt x="29" y="31"/>
                      <a:pt x="25" y="32"/>
                      <a:pt x="23"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7" name="Freeform 360">
                <a:extLst>
                  <a:ext uri="{FF2B5EF4-FFF2-40B4-BE49-F238E27FC236}">
                    <a16:creationId xmlns:a16="http://schemas.microsoft.com/office/drawing/2014/main" id="{6F456C35-C350-4A3F-9BAA-DB234CB33D54}"/>
                  </a:ext>
                </a:extLst>
              </p:cNvPr>
              <p:cNvSpPr>
                <a:spLocks/>
              </p:cNvSpPr>
              <p:nvPr/>
            </p:nvSpPr>
            <p:spPr bwMode="auto">
              <a:xfrm>
                <a:off x="3648076" y="1919288"/>
                <a:ext cx="106363" cy="107950"/>
              </a:xfrm>
              <a:custGeom>
                <a:avLst/>
                <a:gdLst>
                  <a:gd name="T0" fmla="*/ 15 w 31"/>
                  <a:gd name="T1" fmla="*/ 2 h 32"/>
                  <a:gd name="T2" fmla="*/ 21 w 31"/>
                  <a:gd name="T3" fmla="*/ 1 h 32"/>
                  <a:gd name="T4" fmla="*/ 29 w 31"/>
                  <a:gd name="T5" fmla="*/ 8 h 32"/>
                  <a:gd name="T6" fmla="*/ 29 w 31"/>
                  <a:gd name="T7" fmla="*/ 15 h 32"/>
                  <a:gd name="T8" fmla="*/ 11 w 31"/>
                  <a:gd name="T9" fmla="*/ 30 h 32"/>
                  <a:gd name="T10" fmla="*/ 4 w 31"/>
                  <a:gd name="T11" fmla="*/ 30 h 32"/>
                  <a:gd name="T12" fmla="*/ 3 w 31"/>
                  <a:gd name="T13" fmla="*/ 30 h 32"/>
                  <a:gd name="T14" fmla="*/ 2 w 31"/>
                  <a:gd name="T15" fmla="*/ 22 h 32"/>
                  <a:gd name="T16" fmla="*/ 15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5" y="2"/>
                    </a:moveTo>
                    <a:cubicBezTo>
                      <a:pt x="16" y="0"/>
                      <a:pt x="19" y="0"/>
                      <a:pt x="21" y="1"/>
                    </a:cubicBezTo>
                    <a:cubicBezTo>
                      <a:pt x="29" y="8"/>
                      <a:pt x="29" y="8"/>
                      <a:pt x="29" y="8"/>
                    </a:cubicBezTo>
                    <a:cubicBezTo>
                      <a:pt x="31" y="10"/>
                      <a:pt x="31" y="13"/>
                      <a:pt x="29" y="15"/>
                    </a:cubicBezTo>
                    <a:cubicBezTo>
                      <a:pt x="11" y="30"/>
                      <a:pt x="11" y="30"/>
                      <a:pt x="11" y="30"/>
                    </a:cubicBezTo>
                    <a:cubicBezTo>
                      <a:pt x="9" y="32"/>
                      <a:pt x="6" y="32"/>
                      <a:pt x="4" y="30"/>
                    </a:cubicBezTo>
                    <a:cubicBezTo>
                      <a:pt x="3" y="30"/>
                      <a:pt x="3" y="30"/>
                      <a:pt x="3" y="30"/>
                    </a:cubicBezTo>
                    <a:cubicBezTo>
                      <a:pt x="1" y="28"/>
                      <a:pt x="0" y="24"/>
                      <a:pt x="2" y="22"/>
                    </a:cubicBez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8" name="Freeform 361">
                <a:extLst>
                  <a:ext uri="{FF2B5EF4-FFF2-40B4-BE49-F238E27FC236}">
                    <a16:creationId xmlns:a16="http://schemas.microsoft.com/office/drawing/2014/main" id="{99846A96-6208-4822-B7FB-E10B3200D31E}"/>
                  </a:ext>
                </a:extLst>
              </p:cNvPr>
              <p:cNvSpPr>
                <a:spLocks/>
              </p:cNvSpPr>
              <p:nvPr/>
            </p:nvSpPr>
            <p:spPr bwMode="auto">
              <a:xfrm>
                <a:off x="3876676" y="1655763"/>
                <a:ext cx="106363" cy="112712"/>
              </a:xfrm>
              <a:custGeom>
                <a:avLst/>
                <a:gdLst>
                  <a:gd name="T0" fmla="*/ 17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9 w 31"/>
                  <a:gd name="T13" fmla="*/ 2 h 33"/>
                  <a:gd name="T14" fmla="*/ 30 w 31"/>
                  <a:gd name="T15" fmla="*/ 10 h 33"/>
                  <a:gd name="T16" fmla="*/ 17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7" y="30"/>
                    </a:moveTo>
                    <a:cubicBezTo>
                      <a:pt x="15" y="32"/>
                      <a:pt x="12" y="33"/>
                      <a:pt x="10" y="31"/>
                    </a:cubicBezTo>
                    <a:cubicBezTo>
                      <a:pt x="2" y="24"/>
                      <a:pt x="2" y="24"/>
                      <a:pt x="2" y="24"/>
                    </a:cubicBezTo>
                    <a:cubicBezTo>
                      <a:pt x="0" y="22"/>
                      <a:pt x="0" y="19"/>
                      <a:pt x="2" y="17"/>
                    </a:cubicBezTo>
                    <a:cubicBezTo>
                      <a:pt x="20" y="2"/>
                      <a:pt x="20" y="2"/>
                      <a:pt x="20" y="2"/>
                    </a:cubicBezTo>
                    <a:cubicBezTo>
                      <a:pt x="22" y="0"/>
                      <a:pt x="26" y="0"/>
                      <a:pt x="28" y="2"/>
                    </a:cubicBezTo>
                    <a:cubicBezTo>
                      <a:pt x="29" y="2"/>
                      <a:pt x="29" y="2"/>
                      <a:pt x="29" y="2"/>
                    </a:cubicBezTo>
                    <a:cubicBezTo>
                      <a:pt x="31" y="4"/>
                      <a:pt x="31" y="8"/>
                      <a:pt x="30" y="10"/>
                    </a:cubicBezTo>
                    <a:lnTo>
                      <a:pt x="17"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89" name="Freeform 362">
                <a:extLst>
                  <a:ext uri="{FF2B5EF4-FFF2-40B4-BE49-F238E27FC236}">
                    <a16:creationId xmlns:a16="http://schemas.microsoft.com/office/drawing/2014/main" id="{F036AF34-B4F1-459B-8575-21153367183D}"/>
                  </a:ext>
                </a:extLst>
              </p:cNvPr>
              <p:cNvSpPr>
                <a:spLocks/>
              </p:cNvSpPr>
              <p:nvPr/>
            </p:nvSpPr>
            <p:spPr bwMode="auto">
              <a:xfrm>
                <a:off x="3695701" y="1625600"/>
                <a:ext cx="92075" cy="119062"/>
              </a:xfrm>
              <a:custGeom>
                <a:avLst/>
                <a:gdLst>
                  <a:gd name="T0" fmla="*/ 25 w 27"/>
                  <a:gd name="T1" fmla="*/ 22 h 35"/>
                  <a:gd name="T2" fmla="*/ 24 w 27"/>
                  <a:gd name="T3" fmla="*/ 29 h 35"/>
                  <a:gd name="T4" fmla="*/ 14 w 27"/>
                  <a:gd name="T5" fmla="*/ 33 h 35"/>
                  <a:gd name="T6" fmla="*/ 8 w 27"/>
                  <a:gd name="T7" fmla="*/ 31 h 35"/>
                  <a:gd name="T8" fmla="*/ 1 w 27"/>
                  <a:gd name="T9" fmla="*/ 9 h 35"/>
                  <a:gd name="T10" fmla="*/ 3 w 27"/>
                  <a:gd name="T11" fmla="*/ 1 h 35"/>
                  <a:gd name="T12" fmla="*/ 4 w 27"/>
                  <a:gd name="T13" fmla="*/ 1 h 35"/>
                  <a:gd name="T14" fmla="*/ 12 w 27"/>
                  <a:gd name="T15" fmla="*/ 3 h 35"/>
                  <a:gd name="T16" fmla="*/ 25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5" y="22"/>
                    </a:moveTo>
                    <a:cubicBezTo>
                      <a:pt x="27" y="25"/>
                      <a:pt x="26" y="27"/>
                      <a:pt x="24" y="29"/>
                    </a:cubicBezTo>
                    <a:cubicBezTo>
                      <a:pt x="14" y="33"/>
                      <a:pt x="14" y="33"/>
                      <a:pt x="14" y="33"/>
                    </a:cubicBezTo>
                    <a:cubicBezTo>
                      <a:pt x="12" y="35"/>
                      <a:pt x="9" y="34"/>
                      <a:pt x="8" y="31"/>
                    </a:cubicBezTo>
                    <a:cubicBezTo>
                      <a:pt x="1" y="9"/>
                      <a:pt x="1" y="9"/>
                      <a:pt x="1" y="9"/>
                    </a:cubicBezTo>
                    <a:cubicBezTo>
                      <a:pt x="0" y="6"/>
                      <a:pt x="1" y="3"/>
                      <a:pt x="3" y="1"/>
                    </a:cubicBezTo>
                    <a:cubicBezTo>
                      <a:pt x="4" y="1"/>
                      <a:pt x="4" y="1"/>
                      <a:pt x="4" y="1"/>
                    </a:cubicBezTo>
                    <a:cubicBezTo>
                      <a:pt x="7" y="0"/>
                      <a:pt x="10" y="1"/>
                      <a:pt x="12" y="3"/>
                    </a:cubicBezTo>
                    <a:lnTo>
                      <a:pt x="2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90" name="Freeform 363">
                <a:extLst>
                  <a:ext uri="{FF2B5EF4-FFF2-40B4-BE49-F238E27FC236}">
                    <a16:creationId xmlns:a16="http://schemas.microsoft.com/office/drawing/2014/main" id="{CA4C9D91-1403-4C7A-B189-65DB542137BF}"/>
                  </a:ext>
                </a:extLst>
              </p:cNvPr>
              <p:cNvSpPr>
                <a:spLocks/>
              </p:cNvSpPr>
              <p:nvPr/>
            </p:nvSpPr>
            <p:spPr bwMode="auto">
              <a:xfrm>
                <a:off x="3846513" y="1938338"/>
                <a:ext cx="92075" cy="120650"/>
              </a:xfrm>
              <a:custGeom>
                <a:avLst/>
                <a:gdLst>
                  <a:gd name="T0" fmla="*/ 1 w 27"/>
                  <a:gd name="T1" fmla="*/ 13 h 35"/>
                  <a:gd name="T2" fmla="*/ 3 w 27"/>
                  <a:gd name="T3" fmla="*/ 6 h 35"/>
                  <a:gd name="T4" fmla="*/ 12 w 27"/>
                  <a:gd name="T5" fmla="*/ 2 h 35"/>
                  <a:gd name="T6" fmla="*/ 19 w 27"/>
                  <a:gd name="T7" fmla="*/ 4 h 35"/>
                  <a:gd name="T8" fmla="*/ 26 w 27"/>
                  <a:gd name="T9" fmla="*/ 26 h 35"/>
                  <a:gd name="T10" fmla="*/ 23 w 27"/>
                  <a:gd name="T11" fmla="*/ 34 h 35"/>
                  <a:gd name="T12" fmla="*/ 22 w 27"/>
                  <a:gd name="T13" fmla="*/ 34 h 35"/>
                  <a:gd name="T14" fmla="*/ 15 w 27"/>
                  <a:gd name="T15" fmla="*/ 32 h 35"/>
                  <a:gd name="T16" fmla="*/ 1 w 27"/>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1" y="13"/>
                    </a:moveTo>
                    <a:cubicBezTo>
                      <a:pt x="0" y="11"/>
                      <a:pt x="0" y="8"/>
                      <a:pt x="3" y="6"/>
                    </a:cubicBezTo>
                    <a:cubicBezTo>
                      <a:pt x="12" y="2"/>
                      <a:pt x="12" y="2"/>
                      <a:pt x="12" y="2"/>
                    </a:cubicBezTo>
                    <a:cubicBezTo>
                      <a:pt x="15" y="0"/>
                      <a:pt x="18" y="2"/>
                      <a:pt x="19" y="4"/>
                    </a:cubicBezTo>
                    <a:cubicBezTo>
                      <a:pt x="26" y="26"/>
                      <a:pt x="26" y="26"/>
                      <a:pt x="26" y="26"/>
                    </a:cubicBezTo>
                    <a:cubicBezTo>
                      <a:pt x="27" y="29"/>
                      <a:pt x="26" y="32"/>
                      <a:pt x="23" y="34"/>
                    </a:cubicBezTo>
                    <a:cubicBezTo>
                      <a:pt x="22" y="34"/>
                      <a:pt x="22" y="34"/>
                      <a:pt x="22" y="34"/>
                    </a:cubicBezTo>
                    <a:cubicBezTo>
                      <a:pt x="20" y="35"/>
                      <a:pt x="16" y="35"/>
                      <a:pt x="15" y="32"/>
                    </a:cubicBezTo>
                    <a:lnTo>
                      <a:pt x="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91" name="Freeform 364">
                <a:extLst>
                  <a:ext uri="{FF2B5EF4-FFF2-40B4-BE49-F238E27FC236}">
                    <a16:creationId xmlns:a16="http://schemas.microsoft.com/office/drawing/2014/main" id="{FACD519F-6BD4-4D76-A4B5-4AD17204FB86}"/>
                  </a:ext>
                </a:extLst>
              </p:cNvPr>
              <p:cNvSpPr>
                <a:spLocks/>
              </p:cNvSpPr>
              <p:nvPr/>
            </p:nvSpPr>
            <p:spPr bwMode="auto">
              <a:xfrm>
                <a:off x="3597276" y="1871663"/>
                <a:ext cx="119063" cy="90487"/>
              </a:xfrm>
              <a:custGeom>
                <a:avLst/>
                <a:gdLst>
                  <a:gd name="T0" fmla="*/ 23 w 35"/>
                  <a:gd name="T1" fmla="*/ 2 h 27"/>
                  <a:gd name="T2" fmla="*/ 30 w 35"/>
                  <a:gd name="T3" fmla="*/ 3 h 27"/>
                  <a:gd name="T4" fmla="*/ 34 w 35"/>
                  <a:gd name="T5" fmla="*/ 13 h 27"/>
                  <a:gd name="T6" fmla="*/ 32 w 35"/>
                  <a:gd name="T7" fmla="*/ 19 h 27"/>
                  <a:gd name="T8" fmla="*/ 9 w 35"/>
                  <a:gd name="T9" fmla="*/ 26 h 27"/>
                  <a:gd name="T10" fmla="*/ 2 w 35"/>
                  <a:gd name="T11" fmla="*/ 23 h 27"/>
                  <a:gd name="T12" fmla="*/ 2 w 35"/>
                  <a:gd name="T13" fmla="*/ 23 h 27"/>
                  <a:gd name="T14" fmla="*/ 4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30" y="3"/>
                    </a:cubicBezTo>
                    <a:cubicBezTo>
                      <a:pt x="34" y="13"/>
                      <a:pt x="34" y="13"/>
                      <a:pt x="34" y="13"/>
                    </a:cubicBezTo>
                    <a:cubicBezTo>
                      <a:pt x="35" y="15"/>
                      <a:pt x="34" y="18"/>
                      <a:pt x="32" y="19"/>
                    </a:cubicBezTo>
                    <a:cubicBezTo>
                      <a:pt x="9" y="26"/>
                      <a:pt x="9" y="26"/>
                      <a:pt x="9" y="26"/>
                    </a:cubicBezTo>
                    <a:cubicBezTo>
                      <a:pt x="7" y="27"/>
                      <a:pt x="3" y="26"/>
                      <a:pt x="2" y="23"/>
                    </a:cubicBezTo>
                    <a:cubicBezTo>
                      <a:pt x="2" y="23"/>
                      <a:pt x="2" y="23"/>
                      <a:pt x="2" y="23"/>
                    </a:cubicBezTo>
                    <a:cubicBezTo>
                      <a:pt x="0" y="20"/>
                      <a:pt x="1" y="17"/>
                      <a:pt x="4"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92" name="Freeform 365">
                <a:extLst>
                  <a:ext uri="{FF2B5EF4-FFF2-40B4-BE49-F238E27FC236}">
                    <a16:creationId xmlns:a16="http://schemas.microsoft.com/office/drawing/2014/main" id="{EDF792D0-4B51-4B7B-B5A7-7B4709B5529F}"/>
                  </a:ext>
                </a:extLst>
              </p:cNvPr>
              <p:cNvSpPr>
                <a:spLocks/>
              </p:cNvSpPr>
              <p:nvPr/>
            </p:nvSpPr>
            <p:spPr bwMode="auto">
              <a:xfrm>
                <a:off x="3914776" y="1720850"/>
                <a:ext cx="120650" cy="92075"/>
              </a:xfrm>
              <a:custGeom>
                <a:avLst/>
                <a:gdLst>
                  <a:gd name="T0" fmla="*/ 13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4 w 35"/>
                  <a:gd name="T13" fmla="*/ 5 h 27"/>
                  <a:gd name="T14" fmla="*/ 32 w 35"/>
                  <a:gd name="T15" fmla="*/ 12 h 27"/>
                  <a:gd name="T16" fmla="*/ 13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3" y="26"/>
                    </a:moveTo>
                    <a:cubicBezTo>
                      <a:pt x="10" y="27"/>
                      <a:pt x="7" y="26"/>
                      <a:pt x="6" y="24"/>
                    </a:cubicBezTo>
                    <a:cubicBezTo>
                      <a:pt x="1" y="15"/>
                      <a:pt x="1" y="15"/>
                      <a:pt x="1" y="15"/>
                    </a:cubicBezTo>
                    <a:cubicBezTo>
                      <a:pt x="0" y="12"/>
                      <a:pt x="1" y="9"/>
                      <a:pt x="4" y="8"/>
                    </a:cubicBezTo>
                    <a:cubicBezTo>
                      <a:pt x="26" y="1"/>
                      <a:pt x="26" y="1"/>
                      <a:pt x="26" y="1"/>
                    </a:cubicBezTo>
                    <a:cubicBezTo>
                      <a:pt x="29" y="0"/>
                      <a:pt x="32" y="1"/>
                      <a:pt x="33" y="4"/>
                    </a:cubicBezTo>
                    <a:cubicBezTo>
                      <a:pt x="34" y="5"/>
                      <a:pt x="34" y="5"/>
                      <a:pt x="34" y="5"/>
                    </a:cubicBezTo>
                    <a:cubicBezTo>
                      <a:pt x="35" y="7"/>
                      <a:pt x="34" y="11"/>
                      <a:pt x="32" y="12"/>
                    </a:cubicBez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93" name="Freeform 366">
                <a:extLst>
                  <a:ext uri="{FF2B5EF4-FFF2-40B4-BE49-F238E27FC236}">
                    <a16:creationId xmlns:a16="http://schemas.microsoft.com/office/drawing/2014/main" id="{06EE6B63-93F3-411C-88D4-118564DF4165}"/>
                  </a:ext>
                </a:extLst>
              </p:cNvPr>
              <p:cNvSpPr>
                <a:spLocks/>
              </p:cNvSpPr>
              <p:nvPr/>
            </p:nvSpPr>
            <p:spPr bwMode="auto">
              <a:xfrm>
                <a:off x="3586163" y="1751013"/>
                <a:ext cx="120650" cy="82550"/>
              </a:xfrm>
              <a:custGeom>
                <a:avLst/>
                <a:gdLst>
                  <a:gd name="T0" fmla="*/ 31 w 35"/>
                  <a:gd name="T1" fmla="*/ 4 h 24"/>
                  <a:gd name="T2" fmla="*/ 34 w 35"/>
                  <a:gd name="T3" fmla="*/ 10 h 24"/>
                  <a:gd name="T4" fmla="*/ 31 w 35"/>
                  <a:gd name="T5" fmla="*/ 20 h 24"/>
                  <a:gd name="T6" fmla="*/ 25 w 35"/>
                  <a:gd name="T7" fmla="*/ 23 h 24"/>
                  <a:gd name="T8" fmla="*/ 4 w 35"/>
                  <a:gd name="T9" fmla="*/ 12 h 24"/>
                  <a:gd name="T10" fmla="*/ 1 w 35"/>
                  <a:gd name="T11" fmla="*/ 5 h 24"/>
                  <a:gd name="T12" fmla="*/ 1 w 35"/>
                  <a:gd name="T13" fmla="*/ 4 h 24"/>
                  <a:gd name="T14" fmla="*/ 8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4" y="5"/>
                      <a:pt x="35" y="8"/>
                      <a:pt x="34" y="10"/>
                    </a:cubicBezTo>
                    <a:cubicBezTo>
                      <a:pt x="31" y="20"/>
                      <a:pt x="31" y="20"/>
                      <a:pt x="31" y="20"/>
                    </a:cubicBezTo>
                    <a:cubicBezTo>
                      <a:pt x="30" y="23"/>
                      <a:pt x="27" y="24"/>
                      <a:pt x="25" y="23"/>
                    </a:cubicBezTo>
                    <a:cubicBezTo>
                      <a:pt x="4" y="12"/>
                      <a:pt x="4" y="12"/>
                      <a:pt x="4" y="12"/>
                    </a:cubicBezTo>
                    <a:cubicBezTo>
                      <a:pt x="1" y="11"/>
                      <a:pt x="0" y="8"/>
                      <a:pt x="1" y="5"/>
                    </a:cubicBezTo>
                    <a:cubicBezTo>
                      <a:pt x="1" y="4"/>
                      <a:pt x="1" y="4"/>
                      <a:pt x="1" y="4"/>
                    </a:cubicBezTo>
                    <a:cubicBezTo>
                      <a:pt x="2" y="2"/>
                      <a:pt x="5" y="0"/>
                      <a:pt x="8"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94" name="Freeform 367">
                <a:extLst>
                  <a:ext uri="{FF2B5EF4-FFF2-40B4-BE49-F238E27FC236}">
                    <a16:creationId xmlns:a16="http://schemas.microsoft.com/office/drawing/2014/main" id="{7C58F3D3-6780-4921-B3A3-8D9FECF1CDCB}"/>
                  </a:ext>
                </a:extLst>
              </p:cNvPr>
              <p:cNvSpPr>
                <a:spLocks/>
              </p:cNvSpPr>
              <p:nvPr/>
            </p:nvSpPr>
            <p:spPr bwMode="auto">
              <a:xfrm>
                <a:off x="3925888" y="1851025"/>
                <a:ext cx="122238" cy="80962"/>
              </a:xfrm>
              <a:custGeom>
                <a:avLst/>
                <a:gdLst>
                  <a:gd name="T0" fmla="*/ 5 w 36"/>
                  <a:gd name="T1" fmla="*/ 20 h 24"/>
                  <a:gd name="T2" fmla="*/ 1 w 36"/>
                  <a:gd name="T3" fmla="*/ 14 h 24"/>
                  <a:gd name="T4" fmla="*/ 4 w 36"/>
                  <a:gd name="T5" fmla="*/ 4 h 24"/>
                  <a:gd name="T6" fmla="*/ 11 w 36"/>
                  <a:gd name="T7" fmla="*/ 1 h 24"/>
                  <a:gd name="T8" fmla="*/ 32 w 36"/>
                  <a:gd name="T9" fmla="*/ 12 h 24"/>
                  <a:gd name="T10" fmla="*/ 35 w 36"/>
                  <a:gd name="T11" fmla="*/ 19 h 24"/>
                  <a:gd name="T12" fmla="*/ 34 w 36"/>
                  <a:gd name="T13" fmla="*/ 20 h 24"/>
                  <a:gd name="T14" fmla="*/ 28 w 36"/>
                  <a:gd name="T15" fmla="*/ 24 h 24"/>
                  <a:gd name="T16" fmla="*/ 5 w 36"/>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4">
                    <a:moveTo>
                      <a:pt x="5" y="20"/>
                    </a:moveTo>
                    <a:cubicBezTo>
                      <a:pt x="2" y="19"/>
                      <a:pt x="0" y="17"/>
                      <a:pt x="1" y="14"/>
                    </a:cubicBezTo>
                    <a:cubicBezTo>
                      <a:pt x="4" y="4"/>
                      <a:pt x="4" y="4"/>
                      <a:pt x="4" y="4"/>
                    </a:cubicBezTo>
                    <a:cubicBezTo>
                      <a:pt x="5" y="1"/>
                      <a:pt x="8" y="0"/>
                      <a:pt x="11" y="1"/>
                    </a:cubicBezTo>
                    <a:cubicBezTo>
                      <a:pt x="32" y="12"/>
                      <a:pt x="32" y="12"/>
                      <a:pt x="32" y="12"/>
                    </a:cubicBezTo>
                    <a:cubicBezTo>
                      <a:pt x="34" y="13"/>
                      <a:pt x="36" y="16"/>
                      <a:pt x="35" y="19"/>
                    </a:cubicBezTo>
                    <a:cubicBezTo>
                      <a:pt x="34" y="20"/>
                      <a:pt x="34" y="20"/>
                      <a:pt x="34" y="20"/>
                    </a:cubicBezTo>
                    <a:cubicBezTo>
                      <a:pt x="34" y="23"/>
                      <a:pt x="31" y="24"/>
                      <a:pt x="28" y="24"/>
                    </a:cubicBezTo>
                    <a:lnTo>
                      <a:pt x="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95" name="Freeform 368">
                <a:extLst>
                  <a:ext uri="{FF2B5EF4-FFF2-40B4-BE49-F238E27FC236}">
                    <a16:creationId xmlns:a16="http://schemas.microsoft.com/office/drawing/2014/main" id="{E31BEEE8-4792-4467-8FF8-E2925B155397}"/>
                  </a:ext>
                </a:extLst>
              </p:cNvPr>
              <p:cNvSpPr>
                <a:spLocks/>
              </p:cNvSpPr>
              <p:nvPr/>
            </p:nvSpPr>
            <p:spPr bwMode="auto">
              <a:xfrm>
                <a:off x="3722688" y="1952625"/>
                <a:ext cx="85725" cy="119062"/>
              </a:xfrm>
              <a:custGeom>
                <a:avLst/>
                <a:gdLst>
                  <a:gd name="T0" fmla="*/ 5 w 25"/>
                  <a:gd name="T1" fmla="*/ 4 h 35"/>
                  <a:gd name="T2" fmla="*/ 11 w 25"/>
                  <a:gd name="T3" fmla="*/ 0 h 35"/>
                  <a:gd name="T4" fmla="*/ 21 w 25"/>
                  <a:gd name="T5" fmla="*/ 4 h 35"/>
                  <a:gd name="T6" fmla="*/ 23 w 25"/>
                  <a:gd name="T7" fmla="*/ 10 h 35"/>
                  <a:gd name="T8" fmla="*/ 13 w 25"/>
                  <a:gd name="T9" fmla="*/ 31 h 35"/>
                  <a:gd name="T10" fmla="*/ 6 w 25"/>
                  <a:gd name="T11" fmla="*/ 34 h 35"/>
                  <a:gd name="T12" fmla="*/ 5 w 25"/>
                  <a:gd name="T13" fmla="*/ 34 h 35"/>
                  <a:gd name="T14" fmla="*/ 1 w 25"/>
                  <a:gd name="T15" fmla="*/ 27 h 35"/>
                  <a:gd name="T16" fmla="*/ 5 w 25"/>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5">
                    <a:moveTo>
                      <a:pt x="5" y="4"/>
                    </a:moveTo>
                    <a:cubicBezTo>
                      <a:pt x="6" y="1"/>
                      <a:pt x="8" y="0"/>
                      <a:pt x="11" y="0"/>
                    </a:cubicBezTo>
                    <a:cubicBezTo>
                      <a:pt x="21" y="4"/>
                      <a:pt x="21" y="4"/>
                      <a:pt x="21" y="4"/>
                    </a:cubicBezTo>
                    <a:cubicBezTo>
                      <a:pt x="24" y="5"/>
                      <a:pt x="25" y="7"/>
                      <a:pt x="23" y="10"/>
                    </a:cubicBezTo>
                    <a:cubicBezTo>
                      <a:pt x="13" y="31"/>
                      <a:pt x="13" y="31"/>
                      <a:pt x="13" y="31"/>
                    </a:cubicBezTo>
                    <a:cubicBezTo>
                      <a:pt x="12" y="34"/>
                      <a:pt x="9" y="35"/>
                      <a:pt x="6"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96" name="Freeform 369">
                <a:extLst>
                  <a:ext uri="{FF2B5EF4-FFF2-40B4-BE49-F238E27FC236}">
                    <a16:creationId xmlns:a16="http://schemas.microsoft.com/office/drawing/2014/main" id="{064D3678-3982-4004-BAAB-9A96C0DD8206}"/>
                  </a:ext>
                </a:extLst>
              </p:cNvPr>
              <p:cNvSpPr>
                <a:spLocks/>
              </p:cNvSpPr>
              <p:nvPr/>
            </p:nvSpPr>
            <p:spPr bwMode="auto">
              <a:xfrm>
                <a:off x="3825876" y="1611313"/>
                <a:ext cx="82550" cy="123825"/>
              </a:xfrm>
              <a:custGeom>
                <a:avLst/>
                <a:gdLst>
                  <a:gd name="T0" fmla="*/ 19 w 24"/>
                  <a:gd name="T1" fmla="*/ 31 h 36"/>
                  <a:gd name="T2" fmla="*/ 14 w 24"/>
                  <a:gd name="T3" fmla="*/ 35 h 36"/>
                  <a:gd name="T4" fmla="*/ 4 w 24"/>
                  <a:gd name="T5" fmla="*/ 31 h 36"/>
                  <a:gd name="T6" fmla="*/ 1 w 24"/>
                  <a:gd name="T7" fmla="*/ 25 h 36"/>
                  <a:gd name="T8" fmla="*/ 12 w 24"/>
                  <a:gd name="T9" fmla="*/ 4 h 36"/>
                  <a:gd name="T10" fmla="*/ 19 w 24"/>
                  <a:gd name="T11" fmla="*/ 1 h 36"/>
                  <a:gd name="T12" fmla="*/ 20 w 24"/>
                  <a:gd name="T13" fmla="*/ 1 h 36"/>
                  <a:gd name="T14" fmla="*/ 24 w 24"/>
                  <a:gd name="T15" fmla="*/ 8 h 36"/>
                  <a:gd name="T16" fmla="*/ 19 w 24"/>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9" y="31"/>
                    </a:moveTo>
                    <a:cubicBezTo>
                      <a:pt x="19" y="34"/>
                      <a:pt x="16" y="36"/>
                      <a:pt x="14" y="35"/>
                    </a:cubicBezTo>
                    <a:cubicBezTo>
                      <a:pt x="4" y="31"/>
                      <a:pt x="4" y="31"/>
                      <a:pt x="4" y="31"/>
                    </a:cubicBezTo>
                    <a:cubicBezTo>
                      <a:pt x="1" y="31"/>
                      <a:pt x="0" y="28"/>
                      <a:pt x="1" y="25"/>
                    </a:cubicBezTo>
                    <a:cubicBezTo>
                      <a:pt x="12" y="4"/>
                      <a:pt x="12" y="4"/>
                      <a:pt x="12" y="4"/>
                    </a:cubicBezTo>
                    <a:cubicBezTo>
                      <a:pt x="13" y="2"/>
                      <a:pt x="16" y="0"/>
                      <a:pt x="19" y="1"/>
                    </a:cubicBezTo>
                    <a:cubicBezTo>
                      <a:pt x="20" y="1"/>
                      <a:pt x="20" y="1"/>
                      <a:pt x="20" y="1"/>
                    </a:cubicBezTo>
                    <a:cubicBezTo>
                      <a:pt x="22" y="2"/>
                      <a:pt x="24" y="5"/>
                      <a:pt x="24" y="8"/>
                    </a:cubicBezTo>
                    <a:lnTo>
                      <a:pt x="19"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68" name="Freeform 13" title="Icon of a cloud">
              <a:extLst>
                <a:ext uri="{FF2B5EF4-FFF2-40B4-BE49-F238E27FC236}">
                  <a16:creationId xmlns:a16="http://schemas.microsoft.com/office/drawing/2014/main" id="{07A05287-283B-44E8-827D-12BFF91778D7}"/>
                </a:ext>
              </a:extLst>
            </p:cNvPr>
            <p:cNvSpPr>
              <a:spLocks noChangeAspect="1"/>
            </p:cNvSpPr>
            <p:nvPr/>
          </p:nvSpPr>
          <p:spPr bwMode="auto">
            <a:xfrm>
              <a:off x="4240415" y="1244594"/>
              <a:ext cx="1847253" cy="1013331"/>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381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CA21BEC2-F9C5-4707-9B7B-1BB5973E0808}"/>
              </a:ext>
            </a:extLst>
          </p:cNvPr>
          <p:cNvGrpSpPr/>
          <p:nvPr/>
        </p:nvGrpSpPr>
        <p:grpSpPr>
          <a:xfrm>
            <a:off x="9817541" y="1685414"/>
            <a:ext cx="2195966" cy="1044474"/>
            <a:chOff x="9817541" y="1272056"/>
            <a:chExt cx="2195966" cy="1044474"/>
          </a:xfrm>
        </p:grpSpPr>
        <p:grpSp>
          <p:nvGrpSpPr>
            <p:cNvPr id="100" name="Group 99">
              <a:extLst>
                <a:ext uri="{FF2B5EF4-FFF2-40B4-BE49-F238E27FC236}">
                  <a16:creationId xmlns:a16="http://schemas.microsoft.com/office/drawing/2014/main" id="{2F663C8A-6E94-4C9D-BBA6-38EBC525885C}"/>
                </a:ext>
              </a:extLst>
            </p:cNvPr>
            <p:cNvGrpSpPr/>
            <p:nvPr/>
          </p:nvGrpSpPr>
          <p:grpSpPr>
            <a:xfrm>
              <a:off x="9817541" y="1272056"/>
              <a:ext cx="1831429" cy="1044474"/>
              <a:chOff x="9735671" y="2061587"/>
              <a:chExt cx="1475343" cy="782552"/>
            </a:xfrm>
          </p:grpSpPr>
          <p:grpSp>
            <p:nvGrpSpPr>
              <p:cNvPr id="102" name="Group 101">
                <a:extLst>
                  <a:ext uri="{FF2B5EF4-FFF2-40B4-BE49-F238E27FC236}">
                    <a16:creationId xmlns:a16="http://schemas.microsoft.com/office/drawing/2014/main" id="{08695DBD-0F9C-44B5-8E1C-CC9F2EEF4FEF}"/>
                  </a:ext>
                </a:extLst>
              </p:cNvPr>
              <p:cNvGrpSpPr/>
              <p:nvPr/>
            </p:nvGrpSpPr>
            <p:grpSpPr>
              <a:xfrm>
                <a:off x="9735671" y="2114289"/>
                <a:ext cx="508286" cy="462777"/>
                <a:chOff x="9647246" y="3078168"/>
                <a:chExt cx="400051" cy="365126"/>
              </a:xfrm>
            </p:grpSpPr>
            <p:sp>
              <p:nvSpPr>
                <p:cNvPr id="110" name="Rectangle 26">
                  <a:extLst>
                    <a:ext uri="{FF2B5EF4-FFF2-40B4-BE49-F238E27FC236}">
                      <a16:creationId xmlns:a16="http://schemas.microsoft.com/office/drawing/2014/main" id="{3E8E46C9-2B72-4966-9DF7-5E8C0CE3ECC2}"/>
                    </a:ext>
                  </a:extLst>
                </p:cNvPr>
                <p:cNvSpPr>
                  <a:spLocks noChangeArrowheads="1"/>
                </p:cNvSpPr>
                <p:nvPr/>
              </p:nvSpPr>
              <p:spPr bwMode="auto">
                <a:xfrm>
                  <a:off x="9647246" y="3276606"/>
                  <a:ext cx="74613" cy="1666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11" name="Rectangle 27">
                  <a:extLst>
                    <a:ext uri="{FF2B5EF4-FFF2-40B4-BE49-F238E27FC236}">
                      <a16:creationId xmlns:a16="http://schemas.microsoft.com/office/drawing/2014/main" id="{099B34AF-7441-4DBC-B100-54437C6FE12F}"/>
                    </a:ext>
                  </a:extLst>
                </p:cNvPr>
                <p:cNvSpPr>
                  <a:spLocks noChangeArrowheads="1"/>
                </p:cNvSpPr>
                <p:nvPr/>
              </p:nvSpPr>
              <p:spPr bwMode="auto">
                <a:xfrm>
                  <a:off x="9863146" y="3224218"/>
                  <a:ext cx="74613" cy="21907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12" name="Rectangle 28">
                  <a:extLst>
                    <a:ext uri="{FF2B5EF4-FFF2-40B4-BE49-F238E27FC236}">
                      <a16:creationId xmlns:a16="http://schemas.microsoft.com/office/drawing/2014/main" id="{D81BE2E9-139F-40B3-BA25-FB269CBCC166}"/>
                    </a:ext>
                  </a:extLst>
                </p:cNvPr>
                <p:cNvSpPr>
                  <a:spLocks noChangeArrowheads="1"/>
                </p:cNvSpPr>
                <p:nvPr/>
              </p:nvSpPr>
              <p:spPr bwMode="auto">
                <a:xfrm>
                  <a:off x="9972684" y="3078168"/>
                  <a:ext cx="74613" cy="36512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13" name="Rectangle 29">
                  <a:extLst>
                    <a:ext uri="{FF2B5EF4-FFF2-40B4-BE49-F238E27FC236}">
                      <a16:creationId xmlns:a16="http://schemas.microsoft.com/office/drawing/2014/main" id="{59DEC4A6-01E7-4314-A6E4-09238AAF6855}"/>
                    </a:ext>
                  </a:extLst>
                </p:cNvPr>
                <p:cNvSpPr>
                  <a:spLocks noChangeArrowheads="1"/>
                </p:cNvSpPr>
                <p:nvPr/>
              </p:nvSpPr>
              <p:spPr bwMode="auto">
                <a:xfrm>
                  <a:off x="9756784" y="3197230"/>
                  <a:ext cx="74613" cy="24606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103" name="Group 102">
                <a:extLst>
                  <a:ext uri="{FF2B5EF4-FFF2-40B4-BE49-F238E27FC236}">
                    <a16:creationId xmlns:a16="http://schemas.microsoft.com/office/drawing/2014/main" id="{B2A9DE5F-1C36-456E-83DF-2F6A9F450773}"/>
                  </a:ext>
                </a:extLst>
              </p:cNvPr>
              <p:cNvGrpSpPr/>
              <p:nvPr/>
            </p:nvGrpSpPr>
            <p:grpSpPr>
              <a:xfrm>
                <a:off x="10300207" y="2061587"/>
                <a:ext cx="622866" cy="566734"/>
                <a:chOff x="5451693" y="3667502"/>
                <a:chExt cx="793750" cy="701675"/>
              </a:xfrm>
            </p:grpSpPr>
            <p:sp>
              <p:nvSpPr>
                <p:cNvPr id="105" name="Freeform 70">
                  <a:extLst>
                    <a:ext uri="{FF2B5EF4-FFF2-40B4-BE49-F238E27FC236}">
                      <a16:creationId xmlns:a16="http://schemas.microsoft.com/office/drawing/2014/main" id="{9313B0C9-8176-4BE1-8F4B-5198CD9DA79D}"/>
                    </a:ext>
                  </a:extLst>
                </p:cNvPr>
                <p:cNvSpPr>
                  <a:spLocks/>
                </p:cNvSpPr>
                <p:nvPr/>
              </p:nvSpPr>
              <p:spPr bwMode="auto">
                <a:xfrm>
                  <a:off x="5666005" y="3667502"/>
                  <a:ext cx="454025" cy="350838"/>
                </a:xfrm>
                <a:custGeom>
                  <a:avLst/>
                  <a:gdLst>
                    <a:gd name="T0" fmla="*/ 212 w 424"/>
                    <a:gd name="T1" fmla="*/ 330 h 330"/>
                    <a:gd name="T2" fmla="*/ 0 w 424"/>
                    <a:gd name="T3" fmla="*/ 118 h 330"/>
                    <a:gd name="T4" fmla="*/ 424 w 424"/>
                    <a:gd name="T5" fmla="*/ 118 h 330"/>
                    <a:gd name="T6" fmla="*/ 212 w 424"/>
                    <a:gd name="T7" fmla="*/ 330 h 330"/>
                  </a:gdLst>
                  <a:ahLst/>
                  <a:cxnLst>
                    <a:cxn ang="0">
                      <a:pos x="T0" y="T1"/>
                    </a:cxn>
                    <a:cxn ang="0">
                      <a:pos x="T2" y="T3"/>
                    </a:cxn>
                    <a:cxn ang="0">
                      <a:pos x="T4" y="T5"/>
                    </a:cxn>
                    <a:cxn ang="0">
                      <a:pos x="T6" y="T7"/>
                    </a:cxn>
                  </a:cxnLst>
                  <a:rect l="0" t="0" r="r" b="b"/>
                  <a:pathLst>
                    <a:path w="424" h="330">
                      <a:moveTo>
                        <a:pt x="212" y="330"/>
                      </a:moveTo>
                      <a:cubicBezTo>
                        <a:pt x="0" y="118"/>
                        <a:pt x="0" y="118"/>
                        <a:pt x="0" y="118"/>
                      </a:cubicBezTo>
                      <a:cubicBezTo>
                        <a:pt x="117" y="0"/>
                        <a:pt x="307" y="0"/>
                        <a:pt x="424" y="118"/>
                      </a:cubicBezTo>
                      <a:lnTo>
                        <a:pt x="212" y="33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06" name="Freeform 71">
                  <a:extLst>
                    <a:ext uri="{FF2B5EF4-FFF2-40B4-BE49-F238E27FC236}">
                      <a16:creationId xmlns:a16="http://schemas.microsoft.com/office/drawing/2014/main" id="{606EED27-364B-4CA5-AD0F-5DFB8E7670AE}"/>
                    </a:ext>
                  </a:extLst>
                </p:cNvPr>
                <p:cNvSpPr>
                  <a:spLocks/>
                </p:cNvSpPr>
                <p:nvPr/>
              </p:nvSpPr>
              <p:spPr bwMode="auto">
                <a:xfrm>
                  <a:off x="5666005" y="4018339"/>
                  <a:ext cx="454025" cy="350838"/>
                </a:xfrm>
                <a:custGeom>
                  <a:avLst/>
                  <a:gdLst>
                    <a:gd name="T0" fmla="*/ 212 w 424"/>
                    <a:gd name="T1" fmla="*/ 0 h 329"/>
                    <a:gd name="T2" fmla="*/ 424 w 424"/>
                    <a:gd name="T3" fmla="*/ 212 h 329"/>
                    <a:gd name="T4" fmla="*/ 0 w 424"/>
                    <a:gd name="T5" fmla="*/ 212 h 329"/>
                    <a:gd name="T6" fmla="*/ 212 w 424"/>
                    <a:gd name="T7" fmla="*/ 0 h 329"/>
                  </a:gdLst>
                  <a:ahLst/>
                  <a:cxnLst>
                    <a:cxn ang="0">
                      <a:pos x="T0" y="T1"/>
                    </a:cxn>
                    <a:cxn ang="0">
                      <a:pos x="T2" y="T3"/>
                    </a:cxn>
                    <a:cxn ang="0">
                      <a:pos x="T4" y="T5"/>
                    </a:cxn>
                    <a:cxn ang="0">
                      <a:pos x="T6" y="T7"/>
                    </a:cxn>
                  </a:cxnLst>
                  <a:rect l="0" t="0" r="r" b="b"/>
                  <a:pathLst>
                    <a:path w="424" h="329">
                      <a:moveTo>
                        <a:pt x="212" y="0"/>
                      </a:moveTo>
                      <a:cubicBezTo>
                        <a:pt x="424" y="212"/>
                        <a:pt x="424" y="212"/>
                        <a:pt x="424" y="212"/>
                      </a:cubicBezTo>
                      <a:cubicBezTo>
                        <a:pt x="307" y="329"/>
                        <a:pt x="117" y="329"/>
                        <a:pt x="0" y="212"/>
                      </a:cubicBezTo>
                      <a:lnTo>
                        <a:pt x="2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07" name="Freeform 72">
                  <a:extLst>
                    <a:ext uri="{FF2B5EF4-FFF2-40B4-BE49-F238E27FC236}">
                      <a16:creationId xmlns:a16="http://schemas.microsoft.com/office/drawing/2014/main" id="{6632B913-91A6-4AEB-A117-4F424AF15668}"/>
                    </a:ext>
                  </a:extLst>
                </p:cNvPr>
                <p:cNvSpPr>
                  <a:spLocks/>
                </p:cNvSpPr>
                <p:nvPr/>
              </p:nvSpPr>
              <p:spPr bwMode="auto">
                <a:xfrm>
                  <a:off x="5893018" y="3716714"/>
                  <a:ext cx="227013" cy="301625"/>
                </a:xfrm>
                <a:custGeom>
                  <a:avLst/>
                  <a:gdLst>
                    <a:gd name="T0" fmla="*/ 0 w 212"/>
                    <a:gd name="T1" fmla="*/ 284 h 284"/>
                    <a:gd name="T2" fmla="*/ 212 w 212"/>
                    <a:gd name="T3" fmla="*/ 72 h 284"/>
                    <a:gd name="T4" fmla="*/ 99 w 212"/>
                    <a:gd name="T5" fmla="*/ 0 h 284"/>
                    <a:gd name="T6" fmla="*/ 0 w 212"/>
                    <a:gd name="T7" fmla="*/ 284 h 284"/>
                  </a:gdLst>
                  <a:ahLst/>
                  <a:cxnLst>
                    <a:cxn ang="0">
                      <a:pos x="T0" y="T1"/>
                    </a:cxn>
                    <a:cxn ang="0">
                      <a:pos x="T2" y="T3"/>
                    </a:cxn>
                    <a:cxn ang="0">
                      <a:pos x="T4" y="T5"/>
                    </a:cxn>
                    <a:cxn ang="0">
                      <a:pos x="T6" y="T7"/>
                    </a:cxn>
                  </a:cxnLst>
                  <a:rect l="0" t="0" r="r" b="b"/>
                  <a:pathLst>
                    <a:path w="212" h="284">
                      <a:moveTo>
                        <a:pt x="0" y="284"/>
                      </a:moveTo>
                      <a:cubicBezTo>
                        <a:pt x="212" y="72"/>
                        <a:pt x="212" y="72"/>
                        <a:pt x="212" y="72"/>
                      </a:cubicBezTo>
                      <a:cubicBezTo>
                        <a:pt x="179" y="39"/>
                        <a:pt x="140" y="15"/>
                        <a:pt x="99" y="0"/>
                      </a:cubicBezTo>
                      <a:lnTo>
                        <a:pt x="0" y="28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08" name="Freeform 82">
                  <a:extLst>
                    <a:ext uri="{FF2B5EF4-FFF2-40B4-BE49-F238E27FC236}">
                      <a16:creationId xmlns:a16="http://schemas.microsoft.com/office/drawing/2014/main" id="{2954BAAA-6424-4458-98DB-E7DA59490E14}"/>
                    </a:ext>
                  </a:extLst>
                </p:cNvPr>
                <p:cNvSpPr>
                  <a:spLocks/>
                </p:cNvSpPr>
                <p:nvPr/>
              </p:nvSpPr>
              <p:spPr bwMode="auto">
                <a:xfrm>
                  <a:off x="5451693" y="3792914"/>
                  <a:ext cx="352425" cy="452438"/>
                </a:xfrm>
                <a:custGeom>
                  <a:avLst/>
                  <a:gdLst>
                    <a:gd name="T0" fmla="*/ 329 w 329"/>
                    <a:gd name="T1" fmla="*/ 212 h 424"/>
                    <a:gd name="T2" fmla="*/ 117 w 329"/>
                    <a:gd name="T3" fmla="*/ 424 h 424"/>
                    <a:gd name="T4" fmla="*/ 117 w 329"/>
                    <a:gd name="T5" fmla="*/ 0 h 424"/>
                    <a:gd name="T6" fmla="*/ 329 w 329"/>
                    <a:gd name="T7" fmla="*/ 212 h 424"/>
                  </a:gdLst>
                  <a:ahLst/>
                  <a:cxnLst>
                    <a:cxn ang="0">
                      <a:pos x="T0" y="T1"/>
                    </a:cxn>
                    <a:cxn ang="0">
                      <a:pos x="T2" y="T3"/>
                    </a:cxn>
                    <a:cxn ang="0">
                      <a:pos x="T4" y="T5"/>
                    </a:cxn>
                    <a:cxn ang="0">
                      <a:pos x="T6" y="T7"/>
                    </a:cxn>
                  </a:cxnLst>
                  <a:rect l="0" t="0" r="r" b="b"/>
                  <a:pathLst>
                    <a:path w="329" h="424">
                      <a:moveTo>
                        <a:pt x="329" y="212"/>
                      </a:moveTo>
                      <a:cubicBezTo>
                        <a:pt x="117" y="424"/>
                        <a:pt x="117" y="424"/>
                        <a:pt x="117" y="424"/>
                      </a:cubicBezTo>
                      <a:cubicBezTo>
                        <a:pt x="0" y="306"/>
                        <a:pt x="0" y="117"/>
                        <a:pt x="117" y="0"/>
                      </a:cubicBezTo>
                      <a:cubicBezTo>
                        <a:pt x="329" y="212"/>
                        <a:pt x="329" y="212"/>
                        <a:pt x="329" y="21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09" name="Freeform 86">
                  <a:extLst>
                    <a:ext uri="{FF2B5EF4-FFF2-40B4-BE49-F238E27FC236}">
                      <a16:creationId xmlns:a16="http://schemas.microsoft.com/office/drawing/2014/main" id="{D4872DD2-B1F0-4BF3-A883-66B3EBBF882D}"/>
                    </a:ext>
                  </a:extLst>
                </p:cNvPr>
                <p:cNvSpPr>
                  <a:spLocks/>
                </p:cNvSpPr>
                <p:nvPr/>
              </p:nvSpPr>
              <p:spPr bwMode="auto">
                <a:xfrm>
                  <a:off x="5893018" y="3792914"/>
                  <a:ext cx="352425" cy="452438"/>
                </a:xfrm>
                <a:custGeom>
                  <a:avLst/>
                  <a:gdLst>
                    <a:gd name="T0" fmla="*/ 0 w 329"/>
                    <a:gd name="T1" fmla="*/ 212 h 424"/>
                    <a:gd name="T2" fmla="*/ 212 w 329"/>
                    <a:gd name="T3" fmla="*/ 0 h 424"/>
                    <a:gd name="T4" fmla="*/ 212 w 329"/>
                    <a:gd name="T5" fmla="*/ 424 h 424"/>
                    <a:gd name="T6" fmla="*/ 0 w 329"/>
                    <a:gd name="T7" fmla="*/ 212 h 424"/>
                  </a:gdLst>
                  <a:ahLst/>
                  <a:cxnLst>
                    <a:cxn ang="0">
                      <a:pos x="T0" y="T1"/>
                    </a:cxn>
                    <a:cxn ang="0">
                      <a:pos x="T2" y="T3"/>
                    </a:cxn>
                    <a:cxn ang="0">
                      <a:pos x="T4" y="T5"/>
                    </a:cxn>
                    <a:cxn ang="0">
                      <a:pos x="T6" y="T7"/>
                    </a:cxn>
                  </a:cxnLst>
                  <a:rect l="0" t="0" r="r" b="b"/>
                  <a:pathLst>
                    <a:path w="329" h="424">
                      <a:moveTo>
                        <a:pt x="0" y="212"/>
                      </a:moveTo>
                      <a:cubicBezTo>
                        <a:pt x="212" y="0"/>
                        <a:pt x="212" y="0"/>
                        <a:pt x="212" y="0"/>
                      </a:cubicBezTo>
                      <a:cubicBezTo>
                        <a:pt x="329" y="117"/>
                        <a:pt x="329" y="306"/>
                        <a:pt x="212" y="424"/>
                      </a:cubicBezTo>
                      <a:lnTo>
                        <a:pt x="0" y="212"/>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3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104" name="TextBox 103">
                <a:extLst>
                  <a:ext uri="{FF2B5EF4-FFF2-40B4-BE49-F238E27FC236}">
                    <a16:creationId xmlns:a16="http://schemas.microsoft.com/office/drawing/2014/main" id="{5C366E11-F324-4D83-8AD9-8D30918052D1}"/>
                  </a:ext>
                </a:extLst>
              </p:cNvPr>
              <p:cNvSpPr txBox="1"/>
              <p:nvPr/>
            </p:nvSpPr>
            <p:spPr>
              <a:xfrm>
                <a:off x="9887093" y="2613543"/>
                <a:ext cx="1323921" cy="230596"/>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Assessment</a:t>
                </a:r>
              </a:p>
            </p:txBody>
          </p:sp>
        </p:grpSp>
        <p:sp>
          <p:nvSpPr>
            <p:cNvPr id="101" name="money_2" title="Icon of a dollar sign with an arrow around it pointing clockwise">
              <a:extLst>
                <a:ext uri="{FF2B5EF4-FFF2-40B4-BE49-F238E27FC236}">
                  <a16:creationId xmlns:a16="http://schemas.microsoft.com/office/drawing/2014/main" id="{3CF1717B-929A-4CA3-8C37-9B463FDDC4AB}"/>
                </a:ext>
              </a:extLst>
            </p:cNvPr>
            <p:cNvSpPr>
              <a:spLocks noChangeAspect="1" noEditPoints="1"/>
            </p:cNvSpPr>
            <p:nvPr/>
          </p:nvSpPr>
          <p:spPr bwMode="auto">
            <a:xfrm>
              <a:off x="11312988" y="1299755"/>
              <a:ext cx="700519" cy="73861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28575" cap="flat">
              <a:solidFill>
                <a:srgbClr val="00B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14" name="Group 113">
            <a:extLst>
              <a:ext uri="{FF2B5EF4-FFF2-40B4-BE49-F238E27FC236}">
                <a16:creationId xmlns:a16="http://schemas.microsoft.com/office/drawing/2014/main" id="{CB5FA029-4C59-44B9-8AFD-460CC41247D8}"/>
              </a:ext>
            </a:extLst>
          </p:cNvPr>
          <p:cNvGrpSpPr/>
          <p:nvPr/>
        </p:nvGrpSpPr>
        <p:grpSpPr>
          <a:xfrm>
            <a:off x="1086731" y="1891202"/>
            <a:ext cx="1096637" cy="926028"/>
            <a:chOff x="1086731" y="1477844"/>
            <a:chExt cx="1096637" cy="926028"/>
          </a:xfrm>
        </p:grpSpPr>
        <p:sp>
          <p:nvSpPr>
            <p:cNvPr id="115" name="TextBox 114">
              <a:extLst>
                <a:ext uri="{FF2B5EF4-FFF2-40B4-BE49-F238E27FC236}">
                  <a16:creationId xmlns:a16="http://schemas.microsoft.com/office/drawing/2014/main" id="{022FD6DB-869D-489E-9572-B371234A1CF9}"/>
                </a:ext>
              </a:extLst>
            </p:cNvPr>
            <p:cNvSpPr txBox="1"/>
            <p:nvPr/>
          </p:nvSpPr>
          <p:spPr>
            <a:xfrm>
              <a:off x="1086731" y="2096095"/>
              <a:ext cx="1096637" cy="307777"/>
            </a:xfrm>
            <a:prstGeom prst="rect">
              <a:avLst/>
            </a:prstGeom>
            <a:noFill/>
          </p:spPr>
          <p:txBody>
            <a:bodyPr wrap="square" rtlCol="0">
              <a:spAutoFit/>
            </a:bodyPr>
            <a:lstStyle/>
            <a:p>
              <a:pPr marL="0" marR="0" lvl="0" indent="0" algn="ctr" defTabSz="93253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Appliance</a:t>
              </a:r>
            </a:p>
          </p:txBody>
        </p:sp>
        <p:sp>
          <p:nvSpPr>
            <p:cNvPr id="116" name="monitor_3" title="Icon of a monitor with a checkmark on the lower right corner">
              <a:extLst>
                <a:ext uri="{FF2B5EF4-FFF2-40B4-BE49-F238E27FC236}">
                  <a16:creationId xmlns:a16="http://schemas.microsoft.com/office/drawing/2014/main" id="{5146D4EB-A716-4505-9988-E511ADC4532B}"/>
                </a:ext>
              </a:extLst>
            </p:cNvPr>
            <p:cNvSpPr>
              <a:spLocks noChangeAspect="1" noEditPoints="1"/>
            </p:cNvSpPr>
            <p:nvPr/>
          </p:nvSpPr>
          <p:spPr bwMode="auto">
            <a:xfrm>
              <a:off x="1210704" y="1477844"/>
              <a:ext cx="811703" cy="650970"/>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28575" cap="sq">
              <a:solidFill>
                <a:srgbClr val="8E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7" name="Processing_E9F5" title="Icon of two interlocked gears">
              <a:extLst>
                <a:ext uri="{FF2B5EF4-FFF2-40B4-BE49-F238E27FC236}">
                  <a16:creationId xmlns:a16="http://schemas.microsoft.com/office/drawing/2014/main" id="{2070F9E9-0B00-4BE3-91A5-2EE422E67100}"/>
                </a:ext>
              </a:extLst>
            </p:cNvPr>
            <p:cNvSpPr>
              <a:spLocks noChangeAspect="1" noEditPoints="1"/>
            </p:cNvSpPr>
            <p:nvPr/>
          </p:nvSpPr>
          <p:spPr bwMode="auto">
            <a:xfrm>
              <a:off x="1392463" y="1528451"/>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857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1776445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anim calcmode="lin" valueType="num">
                                      <p:cBhvr>
                                        <p:cTn id="8" dur="1000" fill="hold"/>
                                        <p:tgtEl>
                                          <p:spTgt spid="52"/>
                                        </p:tgtEl>
                                        <p:attrNameLst>
                                          <p:attrName>ppt_x</p:attrName>
                                        </p:attrNameLst>
                                      </p:cBhvr>
                                      <p:tavLst>
                                        <p:tav tm="0">
                                          <p:val>
                                            <p:strVal val="#ppt_x"/>
                                          </p:val>
                                        </p:tav>
                                        <p:tav tm="100000">
                                          <p:val>
                                            <p:strVal val="#ppt_x"/>
                                          </p:val>
                                        </p:tav>
                                      </p:tavLst>
                                    </p:anim>
                                    <p:anim calcmode="lin" valueType="num">
                                      <p:cBhvr>
                                        <p:cTn id="9" dur="1000" fill="hold"/>
                                        <p:tgtEl>
                                          <p:spTgt spid="5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1000"/>
                                        <p:tgtEl>
                                          <p:spTgt spid="16"/>
                                        </p:tgtEl>
                                      </p:cBhvr>
                                    </p:animEffect>
                                    <p:anim calcmode="lin" valueType="num">
                                      <p:cBhvr>
                                        <p:cTn id="15" dur="1000" fill="hold"/>
                                        <p:tgtEl>
                                          <p:spTgt spid="16"/>
                                        </p:tgtEl>
                                        <p:attrNameLst>
                                          <p:attrName>ppt_x</p:attrName>
                                        </p:attrNameLst>
                                      </p:cBhvr>
                                      <p:tavLst>
                                        <p:tav tm="0">
                                          <p:val>
                                            <p:strVal val="#ppt_x"/>
                                          </p:val>
                                        </p:tav>
                                        <p:tav tm="100000">
                                          <p:val>
                                            <p:strVal val="#ppt_x"/>
                                          </p:val>
                                        </p:tav>
                                      </p:tavLst>
                                    </p:anim>
                                    <p:anim calcmode="lin" valueType="num">
                                      <p:cBhvr>
                                        <p:cTn id="1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1000"/>
                                        <p:tgtEl>
                                          <p:spTgt spid="46"/>
                                        </p:tgtEl>
                                      </p:cBhvr>
                                    </p:animEffect>
                                    <p:anim calcmode="lin" valueType="num">
                                      <p:cBhvr>
                                        <p:cTn id="22" dur="1000" fill="hold"/>
                                        <p:tgtEl>
                                          <p:spTgt spid="46"/>
                                        </p:tgtEl>
                                        <p:attrNameLst>
                                          <p:attrName>ppt_x</p:attrName>
                                        </p:attrNameLst>
                                      </p:cBhvr>
                                      <p:tavLst>
                                        <p:tav tm="0">
                                          <p:val>
                                            <p:strVal val="#ppt_x"/>
                                          </p:val>
                                        </p:tav>
                                        <p:tav tm="100000">
                                          <p:val>
                                            <p:strVal val="#ppt_x"/>
                                          </p:val>
                                        </p:tav>
                                      </p:tavLst>
                                    </p:anim>
                                    <p:anim calcmode="lin" valueType="num">
                                      <p:cBhvr>
                                        <p:cTn id="23"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14"/>
                                        </p:tgtEl>
                                        <p:attrNameLst>
                                          <p:attrName>style.visibility</p:attrName>
                                        </p:attrNameLst>
                                      </p:cBhvr>
                                      <p:to>
                                        <p:strVal val="visible"/>
                                      </p:to>
                                    </p:set>
                                    <p:animEffect transition="in" filter="fade">
                                      <p:cBhvr>
                                        <p:cTn id="28" dur="1000"/>
                                        <p:tgtEl>
                                          <p:spTgt spid="114"/>
                                        </p:tgtEl>
                                      </p:cBhvr>
                                    </p:animEffect>
                                    <p:anim calcmode="lin" valueType="num">
                                      <p:cBhvr>
                                        <p:cTn id="29" dur="1000" fill="hold"/>
                                        <p:tgtEl>
                                          <p:spTgt spid="114"/>
                                        </p:tgtEl>
                                        <p:attrNameLst>
                                          <p:attrName>ppt_x</p:attrName>
                                        </p:attrNameLst>
                                      </p:cBhvr>
                                      <p:tavLst>
                                        <p:tav tm="0">
                                          <p:val>
                                            <p:strVal val="#ppt_x"/>
                                          </p:val>
                                        </p:tav>
                                        <p:tav tm="100000">
                                          <p:val>
                                            <p:strVal val="#ppt_x"/>
                                          </p:val>
                                        </p:tav>
                                      </p:tavLst>
                                    </p:anim>
                                    <p:anim calcmode="lin" valueType="num">
                                      <p:cBhvr>
                                        <p:cTn id="30" dur="1000" fill="hold"/>
                                        <p:tgtEl>
                                          <p:spTgt spid="114"/>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1000"/>
                                        <p:tgtEl>
                                          <p:spTgt spid="49"/>
                                        </p:tgtEl>
                                      </p:cBhvr>
                                    </p:animEffect>
                                    <p:anim calcmode="lin" valueType="num">
                                      <p:cBhvr>
                                        <p:cTn id="36" dur="1000" fill="hold"/>
                                        <p:tgtEl>
                                          <p:spTgt spid="49"/>
                                        </p:tgtEl>
                                        <p:attrNameLst>
                                          <p:attrName>ppt_x</p:attrName>
                                        </p:attrNameLst>
                                      </p:cBhvr>
                                      <p:tavLst>
                                        <p:tav tm="0">
                                          <p:val>
                                            <p:strVal val="#ppt_x"/>
                                          </p:val>
                                        </p:tav>
                                        <p:tav tm="100000">
                                          <p:val>
                                            <p:strVal val="#ppt_x"/>
                                          </p:val>
                                        </p:tav>
                                      </p:tavLst>
                                    </p:anim>
                                    <p:anim calcmode="lin" valueType="num">
                                      <p:cBhvr>
                                        <p:cTn id="37"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1000"/>
                                        <p:tgtEl>
                                          <p:spTgt spid="42"/>
                                        </p:tgtEl>
                                      </p:cBhvr>
                                    </p:animEffect>
                                    <p:anim calcmode="lin" valueType="num">
                                      <p:cBhvr>
                                        <p:cTn id="43" dur="1000" fill="hold"/>
                                        <p:tgtEl>
                                          <p:spTgt spid="42"/>
                                        </p:tgtEl>
                                        <p:attrNameLst>
                                          <p:attrName>ppt_x</p:attrName>
                                        </p:attrNameLst>
                                      </p:cBhvr>
                                      <p:tavLst>
                                        <p:tav tm="0">
                                          <p:val>
                                            <p:strVal val="#ppt_x"/>
                                          </p:val>
                                        </p:tav>
                                        <p:tav tm="100000">
                                          <p:val>
                                            <p:strVal val="#ppt_x"/>
                                          </p:val>
                                        </p:tav>
                                      </p:tavLst>
                                    </p:anim>
                                    <p:anim calcmode="lin" valueType="num">
                                      <p:cBhvr>
                                        <p:cTn id="44"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65"/>
                                        </p:tgtEl>
                                        <p:attrNameLst>
                                          <p:attrName>style.visibility</p:attrName>
                                        </p:attrNameLst>
                                      </p:cBhvr>
                                      <p:to>
                                        <p:strVal val="visible"/>
                                      </p:to>
                                    </p:set>
                                    <p:animEffect transition="in" filter="fade">
                                      <p:cBhvr>
                                        <p:cTn id="49" dur="1000"/>
                                        <p:tgtEl>
                                          <p:spTgt spid="65"/>
                                        </p:tgtEl>
                                      </p:cBhvr>
                                    </p:animEffect>
                                    <p:anim calcmode="lin" valueType="num">
                                      <p:cBhvr>
                                        <p:cTn id="50" dur="1000" fill="hold"/>
                                        <p:tgtEl>
                                          <p:spTgt spid="65"/>
                                        </p:tgtEl>
                                        <p:attrNameLst>
                                          <p:attrName>ppt_x</p:attrName>
                                        </p:attrNameLst>
                                      </p:cBhvr>
                                      <p:tavLst>
                                        <p:tav tm="0">
                                          <p:val>
                                            <p:strVal val="#ppt_x"/>
                                          </p:val>
                                        </p:tav>
                                        <p:tav tm="100000">
                                          <p:val>
                                            <p:strVal val="#ppt_x"/>
                                          </p:val>
                                        </p:tav>
                                      </p:tavLst>
                                    </p:anim>
                                    <p:anim calcmode="lin" valueType="num">
                                      <p:cBhvr>
                                        <p:cTn id="51"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58"/>
                                        </p:tgtEl>
                                        <p:attrNameLst>
                                          <p:attrName>style.visibility</p:attrName>
                                        </p:attrNameLst>
                                      </p:cBhvr>
                                      <p:to>
                                        <p:strVal val="visible"/>
                                      </p:to>
                                    </p:set>
                                    <p:animEffect transition="in" filter="fade">
                                      <p:cBhvr>
                                        <p:cTn id="56" dur="1000"/>
                                        <p:tgtEl>
                                          <p:spTgt spid="58"/>
                                        </p:tgtEl>
                                      </p:cBhvr>
                                    </p:animEffect>
                                    <p:anim calcmode="lin" valueType="num">
                                      <p:cBhvr>
                                        <p:cTn id="57" dur="1000" fill="hold"/>
                                        <p:tgtEl>
                                          <p:spTgt spid="58"/>
                                        </p:tgtEl>
                                        <p:attrNameLst>
                                          <p:attrName>ppt_x</p:attrName>
                                        </p:attrNameLst>
                                      </p:cBhvr>
                                      <p:tavLst>
                                        <p:tav tm="0">
                                          <p:val>
                                            <p:strVal val="#ppt_x"/>
                                          </p:val>
                                        </p:tav>
                                        <p:tav tm="100000">
                                          <p:val>
                                            <p:strVal val="#ppt_x"/>
                                          </p:val>
                                        </p:tav>
                                      </p:tavLst>
                                    </p:anim>
                                    <p:anim calcmode="lin" valueType="num">
                                      <p:cBhvr>
                                        <p:cTn id="58"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1000"/>
                                        <p:tgtEl>
                                          <p:spTgt spid="55"/>
                                        </p:tgtEl>
                                      </p:cBhvr>
                                    </p:animEffect>
                                    <p:anim calcmode="lin" valueType="num">
                                      <p:cBhvr>
                                        <p:cTn id="64" dur="1000" fill="hold"/>
                                        <p:tgtEl>
                                          <p:spTgt spid="55"/>
                                        </p:tgtEl>
                                        <p:attrNameLst>
                                          <p:attrName>ppt_x</p:attrName>
                                        </p:attrNameLst>
                                      </p:cBhvr>
                                      <p:tavLst>
                                        <p:tav tm="0">
                                          <p:val>
                                            <p:strVal val="#ppt_x"/>
                                          </p:val>
                                        </p:tav>
                                        <p:tav tm="100000">
                                          <p:val>
                                            <p:strVal val="#ppt_x"/>
                                          </p:val>
                                        </p:tav>
                                      </p:tavLst>
                                    </p:anim>
                                    <p:anim calcmode="lin" valueType="num">
                                      <p:cBhvr>
                                        <p:cTn id="65"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99"/>
                                        </p:tgtEl>
                                        <p:attrNameLst>
                                          <p:attrName>style.visibility</p:attrName>
                                        </p:attrNameLst>
                                      </p:cBhvr>
                                      <p:to>
                                        <p:strVal val="visible"/>
                                      </p:to>
                                    </p:set>
                                    <p:animEffect transition="in" filter="fade">
                                      <p:cBhvr>
                                        <p:cTn id="70" dur="1000"/>
                                        <p:tgtEl>
                                          <p:spTgt spid="99"/>
                                        </p:tgtEl>
                                      </p:cBhvr>
                                    </p:animEffect>
                                    <p:anim calcmode="lin" valueType="num">
                                      <p:cBhvr>
                                        <p:cTn id="71" dur="1000" fill="hold"/>
                                        <p:tgtEl>
                                          <p:spTgt spid="99"/>
                                        </p:tgtEl>
                                        <p:attrNameLst>
                                          <p:attrName>ppt_x</p:attrName>
                                        </p:attrNameLst>
                                      </p:cBhvr>
                                      <p:tavLst>
                                        <p:tav tm="0">
                                          <p:val>
                                            <p:strVal val="#ppt_x"/>
                                          </p:val>
                                        </p:tav>
                                        <p:tav tm="100000">
                                          <p:val>
                                            <p:strVal val="#ppt_x"/>
                                          </p:val>
                                        </p:tav>
                                      </p:tavLst>
                                    </p:anim>
                                    <p:anim calcmode="lin" valueType="num">
                                      <p:cBhvr>
                                        <p:cTn id="72" dur="1000" fill="hold"/>
                                        <p:tgtEl>
                                          <p:spTgt spid="9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52BFE6EA-E576-464E-A1EA-B6E68F6A85C1}"/>
              </a:ext>
            </a:extLst>
          </p:cNvPr>
          <p:cNvSpPr>
            <a:spLocks noGrp="1"/>
          </p:cNvSpPr>
          <p:nvPr>
            <p:ph type="title"/>
          </p:nvPr>
        </p:nvSpPr>
        <p:spPr>
          <a:xfrm>
            <a:off x="588263" y="457200"/>
            <a:ext cx="11018520" cy="423193"/>
          </a:xfrm>
        </p:spPr>
        <p:txBody>
          <a:bodyPr/>
          <a:lstStyle/>
          <a:p>
            <a:r>
              <a:rPr lang="en-US" sz="2750" dirty="0"/>
              <a:t>Azure Migrate – Discovery</a:t>
            </a:r>
          </a:p>
        </p:txBody>
      </p:sp>
      <p:sp>
        <p:nvSpPr>
          <p:cNvPr id="16" name="Text Placeholder 15">
            <a:extLst>
              <a:ext uri="{FF2B5EF4-FFF2-40B4-BE49-F238E27FC236}">
                <a16:creationId xmlns:a16="http://schemas.microsoft.com/office/drawing/2014/main" id="{BC2ADCC3-AC77-4533-B916-B20B3A2C8CF1}"/>
              </a:ext>
            </a:extLst>
          </p:cNvPr>
          <p:cNvSpPr>
            <a:spLocks noGrp="1"/>
          </p:cNvSpPr>
          <p:nvPr>
            <p:ph type="body" sz="quarter" idx="4294967295"/>
          </p:nvPr>
        </p:nvSpPr>
        <p:spPr>
          <a:xfrm>
            <a:off x="538163" y="1236663"/>
            <a:ext cx="11653837" cy="4136517"/>
          </a:xfrm>
        </p:spPr>
        <p:txBody>
          <a:bodyPr/>
          <a:lstStyle/>
          <a:p>
            <a:pPr marL="448193" lvl="2" indent="-448193">
              <a:buFont typeface="Wingdings" panose="05000000000000000000" pitchFamily="2" charset="2"/>
              <a:buChar char="§"/>
            </a:pPr>
            <a:r>
              <a:rPr lang="en-US" sz="2400" dirty="0">
                <a:solidFill>
                  <a:schemeClr val="accent1"/>
                </a:solidFill>
                <a:latin typeface="+mj-lt"/>
              </a:rPr>
              <a:t>Light Discovery - Appliance-based</a:t>
            </a:r>
          </a:p>
          <a:p>
            <a:pPr lvl="2">
              <a:buFont typeface="Wingdings" panose="05000000000000000000" pitchFamily="2" charset="2"/>
              <a:buChar char="§"/>
            </a:pPr>
            <a:r>
              <a:rPr lang="en-US" sz="2000" dirty="0"/>
              <a:t>No prerequisites on the source VM machine</a:t>
            </a:r>
          </a:p>
          <a:p>
            <a:pPr lvl="2">
              <a:buFont typeface="Wingdings" panose="05000000000000000000" pitchFamily="2" charset="2"/>
              <a:buChar char="§"/>
            </a:pPr>
            <a:r>
              <a:rPr lang="en-US" sz="2000" dirty="0"/>
              <a:t>Agentless</a:t>
            </a:r>
          </a:p>
          <a:p>
            <a:pPr lvl="2">
              <a:buFont typeface="Wingdings" panose="05000000000000000000" pitchFamily="2" charset="2"/>
              <a:buChar char="§"/>
            </a:pPr>
            <a:r>
              <a:rPr lang="en-US" sz="2000" dirty="0"/>
              <a:t>Uses the VMware host credentials for VM access</a:t>
            </a:r>
          </a:p>
          <a:p>
            <a:pPr lvl="2">
              <a:buFont typeface="Wingdings" panose="05000000000000000000" pitchFamily="2" charset="2"/>
              <a:buChar char="§"/>
            </a:pPr>
            <a:r>
              <a:rPr lang="en-US" sz="2000" dirty="0"/>
              <a:t>Supports VMWare</a:t>
            </a:r>
          </a:p>
          <a:p>
            <a:pPr lvl="2">
              <a:buFont typeface="Wingdings" panose="05000000000000000000" pitchFamily="2" charset="2"/>
              <a:buChar char="§"/>
            </a:pPr>
            <a:r>
              <a:rPr lang="en-US" sz="2000" dirty="0"/>
              <a:t>VM Operating System can be Microsoft Windows Server and Linux OS</a:t>
            </a:r>
          </a:p>
          <a:p>
            <a:pPr marL="457200" lvl="2" indent="0">
              <a:buNone/>
            </a:pPr>
            <a:endParaRPr lang="en-US" sz="2000" dirty="0"/>
          </a:p>
          <a:p>
            <a:pPr marL="448193" lvl="2" indent="-448193">
              <a:buFont typeface="Wingdings" panose="05000000000000000000" pitchFamily="2" charset="2"/>
              <a:buChar char="§"/>
            </a:pPr>
            <a:r>
              <a:rPr lang="en-US" sz="2400" dirty="0">
                <a:solidFill>
                  <a:schemeClr val="accent1"/>
                </a:solidFill>
                <a:latin typeface="+mj-lt"/>
              </a:rPr>
              <a:t>Deep Discovery – Agent-based</a:t>
            </a:r>
          </a:p>
          <a:p>
            <a:pPr lvl="2">
              <a:buFont typeface="Wingdings" panose="05000000000000000000" pitchFamily="2" charset="2"/>
              <a:buChar char="§"/>
            </a:pPr>
            <a:r>
              <a:rPr lang="en-US" sz="2000" dirty="0"/>
              <a:t>Visualize dependencies of machines</a:t>
            </a:r>
          </a:p>
          <a:p>
            <a:pPr lvl="2">
              <a:buFont typeface="Wingdings" panose="05000000000000000000" pitchFamily="2" charset="2"/>
              <a:buChar char="§"/>
            </a:pPr>
            <a:r>
              <a:rPr lang="en-US" sz="2000" dirty="0"/>
              <a:t>Understand all server and application connections</a:t>
            </a:r>
          </a:p>
          <a:p>
            <a:pPr lvl="2">
              <a:buFont typeface="Wingdings" panose="05000000000000000000" pitchFamily="2" charset="2"/>
              <a:buChar char="§"/>
            </a:pPr>
            <a:r>
              <a:rPr lang="en-US" sz="2000" dirty="0"/>
              <a:t>Discover unknown relationships to ensure high-confidence migration</a:t>
            </a:r>
          </a:p>
        </p:txBody>
      </p:sp>
    </p:spTree>
    <p:extLst>
      <p:ext uri="{BB962C8B-B14F-4D97-AF65-F5344CB8AC3E}">
        <p14:creationId xmlns:p14="http://schemas.microsoft.com/office/powerpoint/2010/main" val="221202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6">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6">
                                            <p:txEl>
                                              <p:pRg st="9" end="9"/>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057AB-D514-4E41-8FB7-477957F46838}"/>
              </a:ext>
            </a:extLst>
          </p:cNvPr>
          <p:cNvSpPr>
            <a:spLocks noGrp="1"/>
          </p:cNvSpPr>
          <p:nvPr>
            <p:ph type="title"/>
          </p:nvPr>
        </p:nvSpPr>
        <p:spPr/>
        <p:txBody>
          <a:bodyPr/>
          <a:lstStyle/>
          <a:p>
            <a:r>
              <a:rPr lang="en-US" dirty="0"/>
              <a:t>Azure Migrate Features</a:t>
            </a:r>
          </a:p>
        </p:txBody>
      </p:sp>
      <p:sp>
        <p:nvSpPr>
          <p:cNvPr id="3" name="Content Placeholder 2">
            <a:extLst>
              <a:ext uri="{FF2B5EF4-FFF2-40B4-BE49-F238E27FC236}">
                <a16:creationId xmlns:a16="http://schemas.microsoft.com/office/drawing/2014/main" id="{09ACB1E5-C7BE-4201-B4F0-0E4D6786F130}"/>
              </a:ext>
            </a:extLst>
          </p:cNvPr>
          <p:cNvSpPr>
            <a:spLocks noGrp="1"/>
          </p:cNvSpPr>
          <p:nvPr>
            <p:ph type="body" sz="quarter" idx="10"/>
          </p:nvPr>
        </p:nvSpPr>
        <p:spPr>
          <a:xfrm>
            <a:off x="584200" y="1435497"/>
            <a:ext cx="11018520" cy="3877985"/>
          </a:xfrm>
        </p:spPr>
        <p:txBody>
          <a:bodyPr/>
          <a:lstStyle/>
          <a:p>
            <a:pPr marL="342900" lvl="0" indent="-342900">
              <a:buFont typeface="Arial" panose="020B0604020202020204" pitchFamily="34" charset="0"/>
              <a:buChar char="•"/>
            </a:pPr>
            <a:r>
              <a:rPr lang="en-US" sz="2000" dirty="0">
                <a:latin typeface="+mn-lt"/>
              </a:rPr>
              <a:t>Discover and assess on-premises servers</a:t>
            </a:r>
          </a:p>
          <a:p>
            <a:pPr marL="342900" lvl="0" indent="-342900">
              <a:buFont typeface="Arial" panose="020B0604020202020204" pitchFamily="34" charset="0"/>
              <a:buChar char="•"/>
            </a:pPr>
            <a:r>
              <a:rPr lang="en-US" sz="2000" dirty="0">
                <a:latin typeface="+mn-lt"/>
              </a:rPr>
              <a:t>Dependency visualization </a:t>
            </a:r>
          </a:p>
          <a:p>
            <a:pPr marL="342900" lvl="0" indent="-342900">
              <a:buFont typeface="Arial" panose="020B0604020202020204" pitchFamily="34" charset="0"/>
              <a:buChar char="•"/>
            </a:pPr>
            <a:r>
              <a:rPr lang="en-US" sz="2000" dirty="0">
                <a:latin typeface="+mn-lt"/>
              </a:rPr>
              <a:t>Intelligent rightsizing for Azure VMs</a:t>
            </a:r>
          </a:p>
          <a:p>
            <a:pPr marL="342900" indent="-342900">
              <a:buFont typeface="Arial" panose="020B0604020202020204" pitchFamily="34" charset="0"/>
              <a:buChar char="•"/>
            </a:pPr>
            <a:r>
              <a:rPr lang="en-US" sz="2000" dirty="0">
                <a:latin typeface="+mn-lt"/>
              </a:rPr>
              <a:t>Estimated monthly run costs in Azure </a:t>
            </a:r>
          </a:p>
          <a:p>
            <a:pPr marL="342900" lvl="0" indent="-342900">
              <a:buFont typeface="Arial" panose="020B0604020202020204" pitchFamily="34" charset="0"/>
              <a:buChar char="•"/>
            </a:pPr>
            <a:r>
              <a:rPr lang="en-US" sz="2000" dirty="0">
                <a:latin typeface="+mn-lt"/>
              </a:rPr>
              <a:t>Compatibility reporting with guidelines </a:t>
            </a:r>
            <a:br>
              <a:rPr lang="en-US" sz="2000" dirty="0">
                <a:latin typeface="+mn-lt"/>
              </a:rPr>
            </a:br>
            <a:r>
              <a:rPr lang="en-US" sz="2000" dirty="0">
                <a:latin typeface="+mn-lt"/>
              </a:rPr>
              <a:t>for remediation</a:t>
            </a:r>
          </a:p>
          <a:p>
            <a:pPr marL="342900" lvl="0" indent="-342900">
              <a:buFont typeface="Arial" panose="020B0604020202020204" pitchFamily="34" charset="0"/>
              <a:buChar char="•"/>
            </a:pPr>
            <a:r>
              <a:rPr lang="en-US" sz="2000" dirty="0">
                <a:latin typeface="+mn-lt"/>
              </a:rPr>
              <a:t>Service Map</a:t>
            </a:r>
          </a:p>
          <a:p>
            <a:pPr marL="342900" lvl="0" indent="-342900">
              <a:buFont typeface="Arial" panose="020B0604020202020204" pitchFamily="34" charset="0"/>
              <a:buChar char="•"/>
            </a:pPr>
            <a:r>
              <a:rPr lang="en-US" sz="2000" dirty="0">
                <a:latin typeface="+mn-lt"/>
              </a:rPr>
              <a:t>Workload Migration Tool Guidance</a:t>
            </a:r>
          </a:p>
          <a:p>
            <a:pPr marL="285750" lvl="1" indent="-285750">
              <a:buFont typeface="Arial" panose="020B0604020202020204" pitchFamily="34" charset="0"/>
              <a:buChar char="•"/>
            </a:pPr>
            <a:r>
              <a:rPr lang="en-US" sz="2000" dirty="0"/>
              <a:t>Lift &amp; Shift Server Migrations </a:t>
            </a:r>
            <a:br>
              <a:rPr lang="en-US" sz="2000" dirty="0"/>
            </a:br>
            <a:r>
              <a:rPr lang="en-US" sz="2000" dirty="0"/>
              <a:t>(Azure Site Recovery)</a:t>
            </a:r>
          </a:p>
          <a:p>
            <a:pPr marL="285750" lvl="1" indent="-285750">
              <a:buFont typeface="Arial" panose="020B0604020202020204" pitchFamily="34" charset="0"/>
              <a:buChar char="•"/>
            </a:pPr>
            <a:r>
              <a:rPr lang="en-US" sz="2000" dirty="0"/>
              <a:t>Database Migrations </a:t>
            </a:r>
            <a:br>
              <a:rPr lang="en-US" sz="2000" dirty="0"/>
            </a:br>
            <a:r>
              <a:rPr lang="en-US" sz="2000" dirty="0"/>
              <a:t>(Database Migration Service)</a:t>
            </a:r>
          </a:p>
        </p:txBody>
      </p:sp>
      <p:pic>
        <p:nvPicPr>
          <p:cNvPr id="4" name="Picture 3">
            <a:extLst>
              <a:ext uri="{FF2B5EF4-FFF2-40B4-BE49-F238E27FC236}">
                <a16:creationId xmlns:a16="http://schemas.microsoft.com/office/drawing/2014/main" id="{637AC22A-6FAF-4A74-8434-ECFDC73943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9964" y="4071989"/>
            <a:ext cx="5891173" cy="2762385"/>
          </a:xfrm>
          <a:prstGeom prst="rect">
            <a:avLst/>
          </a:prstGeom>
        </p:spPr>
      </p:pic>
      <p:pic>
        <p:nvPicPr>
          <p:cNvPr id="5" name="Picture 4">
            <a:extLst>
              <a:ext uri="{FF2B5EF4-FFF2-40B4-BE49-F238E27FC236}">
                <a16:creationId xmlns:a16="http://schemas.microsoft.com/office/drawing/2014/main" id="{92C715FD-4B39-44D9-ADA9-BEC6C96411D1}"/>
              </a:ext>
            </a:extLst>
          </p:cNvPr>
          <p:cNvPicPr>
            <a:picLocks noChangeAspect="1"/>
          </p:cNvPicPr>
          <p:nvPr/>
        </p:nvPicPr>
        <p:blipFill>
          <a:blip r:embed="rId4"/>
          <a:stretch>
            <a:fillRect/>
          </a:stretch>
        </p:blipFill>
        <p:spPr>
          <a:xfrm>
            <a:off x="6299962" y="23626"/>
            <a:ext cx="5891173" cy="2009241"/>
          </a:xfrm>
          <a:prstGeom prst="rect">
            <a:avLst/>
          </a:prstGeom>
          <a:ln>
            <a:solidFill>
              <a:schemeClr val="accent1"/>
            </a:solidFill>
          </a:ln>
        </p:spPr>
      </p:pic>
      <p:pic>
        <p:nvPicPr>
          <p:cNvPr id="6" name="Picture 5">
            <a:extLst>
              <a:ext uri="{FF2B5EF4-FFF2-40B4-BE49-F238E27FC236}">
                <a16:creationId xmlns:a16="http://schemas.microsoft.com/office/drawing/2014/main" id="{8CF5B450-2946-4AC3-9D20-9181005E5AAE}"/>
              </a:ext>
            </a:extLst>
          </p:cNvPr>
          <p:cNvPicPr>
            <a:picLocks noChangeAspect="1"/>
          </p:cNvPicPr>
          <p:nvPr/>
        </p:nvPicPr>
        <p:blipFill>
          <a:blip r:embed="rId5"/>
          <a:stretch>
            <a:fillRect/>
          </a:stretch>
        </p:blipFill>
        <p:spPr>
          <a:xfrm>
            <a:off x="6300827" y="1797674"/>
            <a:ext cx="5891173" cy="2509509"/>
          </a:xfrm>
          <a:prstGeom prst="rect">
            <a:avLst/>
          </a:prstGeom>
          <a:ln>
            <a:solidFill>
              <a:schemeClr val="accent1"/>
            </a:solidFill>
          </a:ln>
        </p:spPr>
      </p:pic>
    </p:spTree>
    <p:extLst>
      <p:ext uri="{BB962C8B-B14F-4D97-AF65-F5344CB8AC3E}">
        <p14:creationId xmlns:p14="http://schemas.microsoft.com/office/powerpoint/2010/main" val="6858933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FF0984AC-5FFD-47BF-A391-D7679DABA052}"/>
              </a:ext>
            </a:extLst>
          </p:cNvPr>
          <p:cNvSpPr>
            <a:spLocks noGrp="1"/>
          </p:cNvSpPr>
          <p:nvPr>
            <p:ph idx="33"/>
          </p:nvPr>
        </p:nvSpPr>
        <p:spPr>
          <a:xfrm>
            <a:off x="6468590" y="4262994"/>
            <a:ext cx="5622897" cy="2250002"/>
          </a:xfrm>
          <a:ln>
            <a:solidFill>
              <a:schemeClr val="tx1"/>
            </a:solidFill>
          </a:ln>
        </p:spPr>
        <p:txBody>
          <a:bodyPr/>
          <a:lstStyle/>
          <a:p>
            <a:pPr algn="r"/>
            <a:r>
              <a:rPr lang="fr-BE" sz="2000" dirty="0">
                <a:hlinkClick r:id="rId2"/>
              </a:rPr>
              <a:t>peter@pdtit.be</a:t>
            </a:r>
            <a:endParaRPr lang="fr-BE" sz="2000" dirty="0"/>
          </a:p>
          <a:p>
            <a:pPr algn="r"/>
            <a:r>
              <a:rPr lang="fr-BE" sz="2000" dirty="0"/>
              <a:t>@</a:t>
            </a:r>
            <a:r>
              <a:rPr lang="fr-BE" sz="2000" dirty="0" err="1"/>
              <a:t>pdtit</a:t>
            </a:r>
            <a:r>
              <a:rPr lang="fr-BE" sz="2000" dirty="0"/>
              <a:t>	@007FFFLearning</a:t>
            </a:r>
          </a:p>
          <a:p>
            <a:pPr algn="r"/>
            <a:r>
              <a:rPr lang="fr-BE" sz="2000" dirty="0">
                <a:hlinkClick r:id="rId3"/>
              </a:rPr>
              <a:t>http://www.facebook.com/pdtit</a:t>
            </a:r>
            <a:endParaRPr lang="fr-BE" sz="2000" dirty="0"/>
          </a:p>
          <a:p>
            <a:pPr algn="r"/>
            <a:r>
              <a:rPr lang="fr-BE" sz="2000" dirty="0">
                <a:hlinkClick r:id="rId4"/>
              </a:rPr>
              <a:t>http://www.linkedin.com/in/pdtit</a:t>
            </a:r>
            <a:r>
              <a:rPr lang="fr-BE" sz="2000" dirty="0"/>
              <a:t> </a:t>
            </a:r>
          </a:p>
        </p:txBody>
      </p:sp>
      <p:sp>
        <p:nvSpPr>
          <p:cNvPr id="6" name="Title 5">
            <a:extLst>
              <a:ext uri="{FF2B5EF4-FFF2-40B4-BE49-F238E27FC236}">
                <a16:creationId xmlns:a16="http://schemas.microsoft.com/office/drawing/2014/main" id="{0E5B2340-4EA3-47E3-A78C-E8367BCAAD52}"/>
              </a:ext>
            </a:extLst>
          </p:cNvPr>
          <p:cNvSpPr>
            <a:spLocks noGrp="1"/>
          </p:cNvSpPr>
          <p:nvPr>
            <p:ph type="title"/>
          </p:nvPr>
        </p:nvSpPr>
        <p:spPr/>
        <p:txBody>
          <a:bodyPr>
            <a:noAutofit/>
          </a:bodyPr>
          <a:lstStyle/>
          <a:p>
            <a:r>
              <a:rPr lang="fr-BE" sz="2750" dirty="0"/>
              <a:t>About Me…</a:t>
            </a:r>
          </a:p>
        </p:txBody>
      </p:sp>
      <p:pic>
        <p:nvPicPr>
          <p:cNvPr id="3" name="Picture Placeholder 2" descr="A person wearing glasses and looking at the camera&#10;&#10;Description generated with very high confidence">
            <a:extLst>
              <a:ext uri="{FF2B5EF4-FFF2-40B4-BE49-F238E27FC236}">
                <a16:creationId xmlns:a16="http://schemas.microsoft.com/office/drawing/2014/main" id="{34ACBE10-1167-41A2-9607-B9650CBED465}"/>
              </a:ext>
            </a:extLst>
          </p:cNvPr>
          <p:cNvPicPr>
            <a:picLocks noGrp="1" noChangeAspect="1"/>
          </p:cNvPicPr>
          <p:nvPr>
            <p:ph type="pic" sz="quarter" idx="31"/>
          </p:nvPr>
        </p:nvPicPr>
        <p:blipFill>
          <a:blip r:embed="rId5">
            <a:extLst>
              <a:ext uri="{28A0092B-C50C-407E-A947-70E740481C1C}">
                <a14:useLocalDpi xmlns:a14="http://schemas.microsoft.com/office/drawing/2010/main" val="0"/>
              </a:ext>
            </a:extLst>
          </a:blip>
          <a:srcRect l="16553" r="16553"/>
          <a:stretch>
            <a:fillRect/>
          </a:stretch>
        </p:blipFill>
        <p:spPr>
          <a:xfrm>
            <a:off x="9646310" y="314848"/>
            <a:ext cx="2280159" cy="2280159"/>
          </a:xfrm>
        </p:spPr>
      </p:pic>
      <p:sp>
        <p:nvSpPr>
          <p:cNvPr id="7" name="Content Placeholder 6">
            <a:extLst>
              <a:ext uri="{FF2B5EF4-FFF2-40B4-BE49-F238E27FC236}">
                <a16:creationId xmlns:a16="http://schemas.microsoft.com/office/drawing/2014/main" id="{CE4381E6-2D1E-4297-B3D2-A4F1A8488ADC}"/>
              </a:ext>
            </a:extLst>
          </p:cNvPr>
          <p:cNvSpPr>
            <a:spLocks noGrp="1"/>
          </p:cNvSpPr>
          <p:nvPr>
            <p:ph idx="1"/>
          </p:nvPr>
        </p:nvSpPr>
        <p:spPr>
          <a:xfrm>
            <a:off x="457200" y="1551348"/>
            <a:ext cx="6442874" cy="4914900"/>
          </a:xfrm>
        </p:spPr>
        <p:txBody>
          <a:bodyPr/>
          <a:lstStyle/>
          <a:p>
            <a:r>
              <a:rPr lang="fr-BE" dirty="0">
                <a:solidFill>
                  <a:schemeClr val="tx2"/>
                </a:solidFill>
              </a:rPr>
              <a:t>Peter De Tender – MCT, Azure MVP</a:t>
            </a:r>
          </a:p>
          <a:p>
            <a:pPr marL="285750" indent="-285750">
              <a:buBlip>
                <a:blip r:embed="rId6">
                  <a:extLst>
                    <a:ext uri="{837473B0-CC2E-450A-ABE3-18F120FF3D39}">
                      <a1611:picAttrSrcUrl xmlns:a1611="http://schemas.microsoft.com/office/drawing/2016/11/main" r:id="rId7"/>
                    </a:ext>
                  </a:extLst>
                </a:blip>
              </a:buBlip>
            </a:pPr>
            <a:r>
              <a:rPr lang="fr-BE" sz="1800" dirty="0"/>
              <a:t>  CEO and Lead </a:t>
            </a:r>
            <a:r>
              <a:rPr lang="fr-BE" sz="1800" dirty="0" err="1"/>
              <a:t>Technical</a:t>
            </a:r>
            <a:r>
              <a:rPr lang="fr-BE" sz="1800" dirty="0"/>
              <a:t> Trainer of </a:t>
            </a:r>
            <a:r>
              <a:rPr lang="fr-BE" sz="1800" dirty="0">
                <a:solidFill>
                  <a:schemeClr val="tx2"/>
                </a:solidFill>
              </a:rPr>
              <a:t>007FFFLearning.com</a:t>
            </a:r>
            <a:r>
              <a:rPr lang="fr-BE" sz="1800" dirty="0"/>
              <a:t>, +20 </a:t>
            </a:r>
            <a:r>
              <a:rPr lang="fr-BE" sz="1800" dirty="0" err="1"/>
              <a:t>years</a:t>
            </a:r>
            <a:r>
              <a:rPr lang="fr-BE" sz="1800" dirty="0"/>
              <a:t> IT </a:t>
            </a:r>
            <a:r>
              <a:rPr lang="fr-BE" sz="1800" dirty="0" err="1"/>
              <a:t>experience</a:t>
            </a:r>
            <a:r>
              <a:rPr lang="fr-BE" sz="1800" dirty="0"/>
              <a:t>, </a:t>
            </a:r>
            <a:r>
              <a:rPr lang="fr-BE" sz="1800" dirty="0" err="1"/>
              <a:t>mainly</a:t>
            </a:r>
            <a:r>
              <a:rPr lang="fr-BE" sz="1800" dirty="0"/>
              <a:t> datacenters and Microsoft Infrastructure background</a:t>
            </a:r>
          </a:p>
          <a:p>
            <a:endParaRPr lang="fr-BE" sz="1800" dirty="0"/>
          </a:p>
          <a:p>
            <a:pPr marL="285750" indent="-285750">
              <a:buBlip>
                <a:blip r:embed="rId6">
                  <a:extLst>
                    <a:ext uri="{837473B0-CC2E-450A-ABE3-18F120FF3D39}">
                      <a1611:picAttrSrcUrl xmlns:a1611="http://schemas.microsoft.com/office/drawing/2016/11/main" r:id="rId7"/>
                    </a:ext>
                  </a:extLst>
                </a:blip>
              </a:buBlip>
            </a:pPr>
            <a:r>
              <a:rPr lang="fr-BE" sz="1800" dirty="0"/>
              <a:t>  Full-time in Azure </a:t>
            </a:r>
            <a:r>
              <a:rPr lang="fr-BE" sz="1800" dirty="0" err="1"/>
              <a:t>since</a:t>
            </a:r>
            <a:r>
              <a:rPr lang="fr-BE" sz="1800" dirty="0"/>
              <a:t> 2013 (Readiness &amp; Architect)</a:t>
            </a:r>
          </a:p>
          <a:p>
            <a:endParaRPr lang="fr-BE" sz="1800" dirty="0"/>
          </a:p>
          <a:p>
            <a:pPr marL="285750" indent="-285750">
              <a:buBlip>
                <a:blip r:embed="rId6">
                  <a:extLst>
                    <a:ext uri="{837473B0-CC2E-450A-ABE3-18F120FF3D39}">
                      <a1611:picAttrSrcUrl xmlns:a1611="http://schemas.microsoft.com/office/drawing/2016/11/main" r:id="rId7"/>
                    </a:ext>
                  </a:extLst>
                </a:blip>
              </a:buBlip>
            </a:pPr>
            <a:r>
              <a:rPr lang="fr-BE" sz="1800" dirty="0"/>
              <a:t>  Azure Advisor, Azure </a:t>
            </a:r>
            <a:r>
              <a:rPr lang="fr-BE" sz="1800" dirty="0" err="1"/>
              <a:t>Certified</a:t>
            </a:r>
            <a:r>
              <a:rPr lang="fr-BE" sz="1800" dirty="0"/>
              <a:t> Architect </a:t>
            </a:r>
          </a:p>
          <a:p>
            <a:endParaRPr lang="fr-BE" sz="1800" dirty="0"/>
          </a:p>
          <a:p>
            <a:pPr marL="285750" indent="-285750">
              <a:buBlip>
                <a:blip r:embed="rId6">
                  <a:extLst>
                    <a:ext uri="{837473B0-CC2E-450A-ABE3-18F120FF3D39}">
                      <a1611:picAttrSrcUrl xmlns:a1611="http://schemas.microsoft.com/office/drawing/2016/11/main" r:id="rId7"/>
                    </a:ext>
                  </a:extLst>
                </a:blip>
              </a:buBlip>
            </a:pPr>
            <a:r>
              <a:rPr lang="fr-BE" sz="1800" dirty="0"/>
              <a:t>  </a:t>
            </a:r>
            <a:r>
              <a:rPr lang="fr-BE" sz="1800" dirty="0" err="1"/>
              <a:t>Technical</a:t>
            </a:r>
            <a:r>
              <a:rPr lang="fr-BE" sz="1800" dirty="0"/>
              <a:t> Writer, Book </a:t>
            </a:r>
            <a:r>
              <a:rPr lang="fr-BE" sz="1800" dirty="0" err="1"/>
              <a:t>author</a:t>
            </a:r>
            <a:r>
              <a:rPr lang="fr-BE" sz="1800" dirty="0"/>
              <a:t>, </a:t>
            </a:r>
            <a:r>
              <a:rPr lang="fr-BE" sz="1800" dirty="0" err="1"/>
              <a:t>Courseware</a:t>
            </a:r>
            <a:r>
              <a:rPr lang="fr-BE" sz="1800" dirty="0"/>
              <a:t> Creator</a:t>
            </a:r>
          </a:p>
          <a:p>
            <a:endParaRPr lang="fr-BE" sz="1800" dirty="0"/>
          </a:p>
          <a:p>
            <a:pPr marL="285750" indent="-285750">
              <a:buBlip>
                <a:blip r:embed="rId6">
                  <a:extLst>
                    <a:ext uri="{837473B0-CC2E-450A-ABE3-18F120FF3D39}">
                      <a1611:picAttrSrcUrl xmlns:a1611="http://schemas.microsoft.com/office/drawing/2016/11/main" r:id="rId7"/>
                    </a:ext>
                  </a:extLst>
                </a:blip>
              </a:buBlip>
            </a:pPr>
            <a:r>
              <a:rPr lang="fr-BE" sz="1800" dirty="0"/>
              <a:t>  Living in Belgium, but traveling </a:t>
            </a:r>
            <a:r>
              <a:rPr lang="fr-BE" sz="1800" dirty="0" err="1"/>
              <a:t>worldwide</a:t>
            </a:r>
            <a:r>
              <a:rPr lang="fr-BE" sz="1800" dirty="0"/>
              <a:t> </a:t>
            </a:r>
            <a:br>
              <a:rPr lang="fr-BE" sz="1800" dirty="0"/>
            </a:br>
            <a:r>
              <a:rPr lang="fr-BE" sz="1800" dirty="0"/>
              <a:t>90% of </a:t>
            </a:r>
            <a:r>
              <a:rPr lang="fr-BE" sz="1800" dirty="0" err="1"/>
              <a:t>my</a:t>
            </a:r>
            <a:r>
              <a:rPr lang="fr-BE" sz="1800" dirty="0"/>
              <a:t> time, </a:t>
            </a:r>
            <a:r>
              <a:rPr lang="fr-BE" sz="1800" dirty="0" err="1"/>
              <a:t>helping</a:t>
            </a:r>
            <a:r>
              <a:rPr lang="fr-BE" sz="1800" dirty="0"/>
              <a:t> </a:t>
            </a:r>
            <a:r>
              <a:rPr lang="fr-BE" sz="1800" dirty="0" err="1"/>
              <a:t>larger</a:t>
            </a:r>
            <a:r>
              <a:rPr lang="fr-BE" sz="1800" dirty="0"/>
              <a:t> Microsoft </a:t>
            </a:r>
            <a:r>
              <a:rPr lang="fr-BE" sz="1800" dirty="0" err="1"/>
              <a:t>Partners</a:t>
            </a:r>
            <a:r>
              <a:rPr lang="fr-BE" sz="1800" dirty="0"/>
              <a:t>,</a:t>
            </a:r>
            <a:br>
              <a:rPr lang="fr-BE" sz="1800" dirty="0"/>
            </a:br>
            <a:r>
              <a:rPr lang="fr-BE" sz="1800" dirty="0" err="1"/>
              <a:t>customers</a:t>
            </a:r>
            <a:r>
              <a:rPr lang="fr-BE" sz="1800" dirty="0"/>
              <a:t> and Microsoft </a:t>
            </a:r>
            <a:r>
              <a:rPr lang="fr-BE" sz="1800" dirty="0" err="1"/>
              <a:t>FTEs</a:t>
            </a:r>
            <a:r>
              <a:rPr lang="fr-BE" sz="1800" dirty="0"/>
              <a:t> in </a:t>
            </a:r>
            <a:r>
              <a:rPr lang="fr-BE" sz="1800" dirty="0" err="1"/>
              <a:t>learning</a:t>
            </a:r>
            <a:r>
              <a:rPr lang="fr-BE" sz="1800" dirty="0"/>
              <a:t> about and </a:t>
            </a:r>
            <a:r>
              <a:rPr lang="fr-BE" sz="1800" dirty="0" err="1"/>
              <a:t>using</a:t>
            </a:r>
            <a:r>
              <a:rPr lang="fr-BE" sz="1800" dirty="0"/>
              <a:t> Azure, by </a:t>
            </a:r>
            <a:r>
              <a:rPr lang="fr-BE" sz="1800" dirty="0" err="1"/>
              <a:t>providing</a:t>
            </a:r>
            <a:r>
              <a:rPr lang="fr-BE" sz="1800" dirty="0"/>
              <a:t> workshops </a:t>
            </a:r>
            <a:r>
              <a:rPr lang="fr-BE" sz="1800" dirty="0" err="1"/>
              <a:t>with</a:t>
            </a:r>
            <a:r>
              <a:rPr lang="fr-BE" sz="1800" dirty="0"/>
              <a:t> passion</a:t>
            </a:r>
          </a:p>
        </p:txBody>
      </p:sp>
    </p:spTree>
    <p:extLst>
      <p:ext uri="{BB962C8B-B14F-4D97-AF65-F5344CB8AC3E}">
        <p14:creationId xmlns:p14="http://schemas.microsoft.com/office/powerpoint/2010/main" val="378464813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52BFE6EA-E576-464E-A1EA-B6E68F6A85C1}"/>
              </a:ext>
            </a:extLst>
          </p:cNvPr>
          <p:cNvSpPr>
            <a:spLocks noGrp="1"/>
          </p:cNvSpPr>
          <p:nvPr>
            <p:ph type="title"/>
          </p:nvPr>
        </p:nvSpPr>
        <p:spPr>
          <a:xfrm>
            <a:off x="588263" y="457200"/>
            <a:ext cx="11018520" cy="423193"/>
          </a:xfrm>
        </p:spPr>
        <p:txBody>
          <a:bodyPr/>
          <a:lstStyle/>
          <a:p>
            <a:r>
              <a:rPr lang="en-US" sz="2750" dirty="0"/>
              <a:t>Azure Migrate – Assessment </a:t>
            </a:r>
          </a:p>
        </p:txBody>
      </p:sp>
      <p:sp>
        <p:nvSpPr>
          <p:cNvPr id="16" name="Text Placeholder 15">
            <a:extLst>
              <a:ext uri="{FF2B5EF4-FFF2-40B4-BE49-F238E27FC236}">
                <a16:creationId xmlns:a16="http://schemas.microsoft.com/office/drawing/2014/main" id="{BC2ADCC3-AC77-4533-B916-B20B3A2C8CF1}"/>
              </a:ext>
            </a:extLst>
          </p:cNvPr>
          <p:cNvSpPr>
            <a:spLocks noGrp="1"/>
          </p:cNvSpPr>
          <p:nvPr>
            <p:ph type="body" sz="quarter" idx="4294967295"/>
          </p:nvPr>
        </p:nvSpPr>
        <p:spPr>
          <a:xfrm>
            <a:off x="654269" y="1336675"/>
            <a:ext cx="4547651" cy="4315669"/>
          </a:xfrm>
        </p:spPr>
        <p:txBody>
          <a:bodyPr/>
          <a:lstStyle/>
          <a:p>
            <a:pPr marL="336080" lvl="2" indent="-336080">
              <a:buFont typeface="Wingdings" panose="05000000000000000000" pitchFamily="2" charset="2"/>
              <a:buChar char="§"/>
            </a:pPr>
            <a:r>
              <a:rPr lang="en-US" sz="2400" dirty="0">
                <a:solidFill>
                  <a:schemeClr val="accent1"/>
                </a:solidFill>
                <a:latin typeface="+mj-lt"/>
              </a:rPr>
              <a:t>Migration suitability</a:t>
            </a:r>
          </a:p>
          <a:p>
            <a:pPr lvl="1">
              <a:buFont typeface="Wingdings" panose="05000000000000000000" pitchFamily="2" charset="2"/>
              <a:buChar char="§"/>
            </a:pPr>
            <a:r>
              <a:rPr lang="en-US" sz="1765" dirty="0"/>
              <a:t>Deep assessment of VMs to determine Azure readiness</a:t>
            </a:r>
          </a:p>
          <a:p>
            <a:pPr lvl="1">
              <a:buFont typeface="Wingdings" panose="05000000000000000000" pitchFamily="2" charset="2"/>
              <a:buChar char="§"/>
            </a:pPr>
            <a:r>
              <a:rPr lang="en-US" sz="1765" dirty="0"/>
              <a:t>Guidance on remediation for suitability issues</a:t>
            </a:r>
          </a:p>
          <a:p>
            <a:pPr lvl="1">
              <a:buFont typeface="Wingdings" panose="05000000000000000000" pitchFamily="2" charset="2"/>
              <a:buChar char="§"/>
            </a:pPr>
            <a:r>
              <a:rPr lang="en-US" sz="1765" dirty="0"/>
              <a:t>Suggestion on tools for migration</a:t>
            </a:r>
            <a:endParaRPr lang="en-US" sz="2745" dirty="0"/>
          </a:p>
          <a:p>
            <a:pPr>
              <a:buFont typeface="Wingdings" panose="05000000000000000000" pitchFamily="2" charset="2"/>
              <a:buChar char="§"/>
            </a:pPr>
            <a:endParaRPr lang="en-US" sz="784" dirty="0"/>
          </a:p>
          <a:p>
            <a:pPr>
              <a:buFont typeface="Wingdings" panose="05000000000000000000" pitchFamily="2" charset="2"/>
              <a:buChar char="§"/>
            </a:pPr>
            <a:r>
              <a:rPr lang="en-US" sz="2400" dirty="0">
                <a:solidFill>
                  <a:schemeClr val="accent1"/>
                </a:solidFill>
                <a:latin typeface="+mj-lt"/>
                <a:cs typeface="+mn-cs"/>
              </a:rPr>
              <a:t>Intelligent rightsizing</a:t>
            </a:r>
          </a:p>
          <a:p>
            <a:pPr lvl="1">
              <a:buFont typeface="Wingdings" panose="05000000000000000000" pitchFamily="2" charset="2"/>
              <a:buChar char="§"/>
            </a:pPr>
            <a:r>
              <a:rPr lang="en-US" sz="1765" dirty="0"/>
              <a:t>Performance-based right sizing for Azure</a:t>
            </a:r>
          </a:p>
          <a:p>
            <a:pPr marL="336081" lvl="1" indent="0">
              <a:buNone/>
            </a:pPr>
            <a:endParaRPr lang="en-US" sz="784" dirty="0">
              <a:latin typeface="+mj-lt"/>
            </a:endParaRPr>
          </a:p>
          <a:p>
            <a:pPr>
              <a:buFont typeface="Wingdings" panose="05000000000000000000" pitchFamily="2" charset="2"/>
              <a:buChar char="§"/>
            </a:pPr>
            <a:r>
              <a:rPr lang="en-US" sz="2400" dirty="0">
                <a:solidFill>
                  <a:schemeClr val="accent1"/>
                </a:solidFill>
                <a:latin typeface="+mj-lt"/>
                <a:cs typeface="+mn-cs"/>
              </a:rPr>
              <a:t>Cost estimation</a:t>
            </a:r>
          </a:p>
          <a:p>
            <a:pPr lvl="1">
              <a:buFont typeface="Wingdings" panose="05000000000000000000" pitchFamily="2" charset="2"/>
              <a:buChar char="§"/>
            </a:pPr>
            <a:r>
              <a:rPr lang="en-US" sz="1765" dirty="0"/>
              <a:t>Region, offer and currency specific</a:t>
            </a:r>
          </a:p>
          <a:p>
            <a:pPr lvl="1">
              <a:buFont typeface="Wingdings" panose="05000000000000000000" pitchFamily="2" charset="2"/>
              <a:buChar char="§"/>
            </a:pPr>
            <a:r>
              <a:rPr lang="en-US" sz="1765" dirty="0"/>
              <a:t>Supports Azure Hybrid Benefit for Windows Server</a:t>
            </a:r>
          </a:p>
        </p:txBody>
      </p:sp>
      <p:pic>
        <p:nvPicPr>
          <p:cNvPr id="2" name="Picture 1">
            <a:extLst>
              <a:ext uri="{FF2B5EF4-FFF2-40B4-BE49-F238E27FC236}">
                <a16:creationId xmlns:a16="http://schemas.microsoft.com/office/drawing/2014/main" id="{88F5C994-FA85-469B-8CCD-26F326DDAB76}"/>
              </a:ext>
            </a:extLst>
          </p:cNvPr>
          <p:cNvPicPr>
            <a:picLocks noChangeAspect="1"/>
          </p:cNvPicPr>
          <p:nvPr/>
        </p:nvPicPr>
        <p:blipFill>
          <a:blip r:embed="rId3"/>
          <a:stretch>
            <a:fillRect/>
          </a:stretch>
        </p:blipFill>
        <p:spPr>
          <a:xfrm>
            <a:off x="5396523" y="1204594"/>
            <a:ext cx="6795477" cy="5521325"/>
          </a:xfrm>
          <a:prstGeom prst="rect">
            <a:avLst/>
          </a:prstGeom>
        </p:spPr>
      </p:pic>
    </p:spTree>
    <p:extLst>
      <p:ext uri="{BB962C8B-B14F-4D97-AF65-F5344CB8AC3E}">
        <p14:creationId xmlns:p14="http://schemas.microsoft.com/office/powerpoint/2010/main" val="29193906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b="1" dirty="0"/>
              <a:t>Creating a Project</a:t>
            </a:r>
          </a:p>
        </p:txBody>
      </p:sp>
      <p:sp>
        <p:nvSpPr>
          <p:cNvPr id="3" name="Text Placeholder 2">
            <a:extLst>
              <a:ext uri="{FF2B5EF4-FFF2-40B4-BE49-F238E27FC236}">
                <a16:creationId xmlns:a16="http://schemas.microsoft.com/office/drawing/2014/main" id="{ACDEC2A6-200D-4362-8552-ECCB9CE9C4C7}"/>
              </a:ext>
            </a:extLst>
          </p:cNvPr>
          <p:cNvSpPr>
            <a:spLocks noGrp="1"/>
          </p:cNvSpPr>
          <p:nvPr>
            <p:ph type="body" sz="quarter" idx="10"/>
          </p:nvPr>
        </p:nvSpPr>
        <p:spPr>
          <a:xfrm>
            <a:off x="455995" y="1370200"/>
            <a:ext cx="4475602" cy="2339102"/>
          </a:xfrm>
        </p:spPr>
        <p:txBody>
          <a:bodyPr/>
          <a:lstStyle/>
          <a:p>
            <a:pPr marL="457200" indent="-457200">
              <a:buFont typeface="Arial" panose="020B0604020202020204" pitchFamily="34" charset="0"/>
              <a:buChar char="•"/>
            </a:pPr>
            <a:r>
              <a:rPr lang="en-US" sz="2000" dirty="0">
                <a:latin typeface="+mn-lt"/>
              </a:rPr>
              <a:t>Create an Azure Migrate project </a:t>
            </a:r>
            <a:br>
              <a:rPr lang="en-US" sz="2000" dirty="0">
                <a:latin typeface="+mn-lt"/>
              </a:rPr>
            </a:br>
            <a:r>
              <a:rPr lang="en-US" sz="2000" dirty="0">
                <a:latin typeface="+mn-lt"/>
              </a:rPr>
              <a:t>from the Azure portal to hold the metadata of your on-premises VMs</a:t>
            </a:r>
          </a:p>
          <a:p>
            <a:pPr marL="457200" indent="-457200">
              <a:buFont typeface="Arial" panose="020B0604020202020204" pitchFamily="34" charset="0"/>
              <a:buChar char="•"/>
            </a:pPr>
            <a:endParaRPr lang="en-US" sz="2000" dirty="0">
              <a:latin typeface="+mn-lt"/>
            </a:endParaRPr>
          </a:p>
          <a:p>
            <a:pPr marL="457200" indent="-457200">
              <a:buFont typeface="Arial" panose="020B0604020202020204" pitchFamily="34" charset="0"/>
              <a:buChar char="•"/>
            </a:pPr>
            <a:r>
              <a:rPr lang="en-US" sz="2000" dirty="0">
                <a:latin typeface="+mn-lt"/>
              </a:rPr>
              <a:t>Discover up to 1500 VMs in a single project</a:t>
            </a:r>
          </a:p>
          <a:p>
            <a:pPr marL="457200" indent="-457200">
              <a:buFont typeface="Arial" panose="020B0604020202020204" pitchFamily="34" charset="0"/>
              <a:buChar char="•"/>
            </a:pPr>
            <a:endParaRPr lang="en-US" sz="2000" dirty="0">
              <a:latin typeface="+mn-lt"/>
            </a:endParaRPr>
          </a:p>
          <a:p>
            <a:pPr marL="457200" indent="-457200">
              <a:buFont typeface="Arial" panose="020B0604020202020204" pitchFamily="34" charset="0"/>
              <a:buChar char="•"/>
            </a:pPr>
            <a:r>
              <a:rPr lang="en-US" sz="2000" dirty="0">
                <a:latin typeface="+mn-lt"/>
              </a:rPr>
              <a:t>Create multiple projects for larger environments</a:t>
            </a:r>
          </a:p>
        </p:txBody>
      </p:sp>
      <p:pic>
        <p:nvPicPr>
          <p:cNvPr id="2" name="Picture 1">
            <a:extLst>
              <a:ext uri="{FF2B5EF4-FFF2-40B4-BE49-F238E27FC236}">
                <a16:creationId xmlns:a16="http://schemas.microsoft.com/office/drawing/2014/main" id="{AE18EA3F-E2E9-4B71-97CF-1D4B3B3FE2CD}"/>
              </a:ext>
            </a:extLst>
          </p:cNvPr>
          <p:cNvPicPr>
            <a:picLocks noChangeAspect="1"/>
          </p:cNvPicPr>
          <p:nvPr/>
        </p:nvPicPr>
        <p:blipFill>
          <a:blip r:embed="rId3"/>
          <a:stretch>
            <a:fillRect/>
          </a:stretch>
        </p:blipFill>
        <p:spPr>
          <a:xfrm>
            <a:off x="5661993" y="1944940"/>
            <a:ext cx="6370758" cy="3542860"/>
          </a:xfrm>
          <a:prstGeom prst="rect">
            <a:avLst/>
          </a:prstGeom>
          <a:ln>
            <a:solidFill>
              <a:schemeClr val="tx1"/>
            </a:solidFill>
          </a:ln>
        </p:spPr>
      </p:pic>
    </p:spTree>
    <p:extLst>
      <p:ext uri="{BB962C8B-B14F-4D97-AF65-F5344CB8AC3E}">
        <p14:creationId xmlns:p14="http://schemas.microsoft.com/office/powerpoint/2010/main" val="4202145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b="1" dirty="0"/>
              <a:t>Assessing Readiness</a:t>
            </a:r>
          </a:p>
        </p:txBody>
      </p:sp>
      <p:sp>
        <p:nvSpPr>
          <p:cNvPr id="2" name="Text Placeholder 1">
            <a:extLst>
              <a:ext uri="{FF2B5EF4-FFF2-40B4-BE49-F238E27FC236}">
                <a16:creationId xmlns:a16="http://schemas.microsoft.com/office/drawing/2014/main" id="{4644BBF3-F5F7-4B2C-A3FD-193FA7CF0E41}"/>
              </a:ext>
            </a:extLst>
          </p:cNvPr>
          <p:cNvSpPr>
            <a:spLocks noGrp="1"/>
          </p:cNvSpPr>
          <p:nvPr>
            <p:ph type="body" sz="quarter" idx="10"/>
          </p:nvPr>
        </p:nvSpPr>
        <p:spPr>
          <a:xfrm>
            <a:off x="584200" y="1435497"/>
            <a:ext cx="11018520" cy="2509277"/>
          </a:xfrm>
        </p:spPr>
        <p:txBody>
          <a:bodyPr/>
          <a:lstStyle/>
          <a:p>
            <a:r>
              <a:rPr lang="en-US" dirty="0">
                <a:solidFill>
                  <a:schemeClr val="tx2"/>
                </a:solidFill>
              </a:rPr>
              <a:t>Readiness view shows status for each VM discovered</a:t>
            </a:r>
          </a:p>
          <a:p>
            <a:pPr lvl="1"/>
            <a:endParaRPr lang="en-US" sz="2400" dirty="0">
              <a:latin typeface="Segoe UI Semilight" panose="020B0402040204020203" pitchFamily="34" charset="0"/>
              <a:cs typeface="Segoe UI Semilight" panose="020B0402040204020203" pitchFamily="34" charset="0"/>
            </a:endParaRPr>
          </a:p>
          <a:p>
            <a:pPr marL="342900" lvl="1" indent="-342900">
              <a:buFont typeface="Wingdings" panose="05000000000000000000" pitchFamily="2" charset="2"/>
              <a:buChar char="§"/>
            </a:pPr>
            <a:r>
              <a:rPr lang="en-US" sz="2000" dirty="0">
                <a:cs typeface="Segoe UI Semilight" panose="020B0402040204020203" pitchFamily="34" charset="0"/>
              </a:rPr>
              <a:t>Ready for Azure (Green)</a:t>
            </a:r>
          </a:p>
          <a:p>
            <a:pPr marL="342900" lvl="1" indent="-342900">
              <a:buFont typeface="Wingdings" panose="05000000000000000000" pitchFamily="2" charset="2"/>
              <a:buChar char="§"/>
            </a:pPr>
            <a:r>
              <a:rPr lang="en-US" sz="2000" dirty="0">
                <a:cs typeface="Segoe UI Semilight" panose="020B0402040204020203" pitchFamily="34" charset="0"/>
              </a:rPr>
              <a:t>Ready with conditions (Orange)</a:t>
            </a:r>
          </a:p>
          <a:p>
            <a:pPr marL="342900" lvl="1" indent="-342900">
              <a:buFont typeface="Wingdings" panose="05000000000000000000" pitchFamily="2" charset="2"/>
              <a:buChar char="§"/>
            </a:pPr>
            <a:r>
              <a:rPr lang="en-US" sz="2000" dirty="0">
                <a:cs typeface="Segoe UI Semilight" panose="020B0402040204020203" pitchFamily="34" charset="0"/>
              </a:rPr>
              <a:t>Not ready for Azure (Red) </a:t>
            </a:r>
          </a:p>
          <a:p>
            <a:pPr marL="342900" lvl="1" indent="-342900">
              <a:buFont typeface="Wingdings" panose="05000000000000000000" pitchFamily="2" charset="2"/>
              <a:buChar char="§"/>
            </a:pPr>
            <a:r>
              <a:rPr lang="en-US" sz="2000" dirty="0">
                <a:cs typeface="Segoe UI Semilight" panose="020B0402040204020203" pitchFamily="34" charset="0"/>
              </a:rPr>
              <a:t>Readiness unknown (Blue)</a:t>
            </a:r>
          </a:p>
          <a:p>
            <a:endParaRPr lang="en-US" dirty="0"/>
          </a:p>
        </p:txBody>
      </p:sp>
      <p:pic>
        <p:nvPicPr>
          <p:cNvPr id="7" name="Picture 6" descr="Screenshot of the Azure readiness page in the portal. Shows the results of the discovery process with a dashboard view as well as VM names, readiness status, size, suggested migration tool, and OS.">
            <a:extLst>
              <a:ext uri="{FF2B5EF4-FFF2-40B4-BE49-F238E27FC236}">
                <a16:creationId xmlns:a16="http://schemas.microsoft.com/office/drawing/2014/main" id="{AF693148-3267-4491-BBF0-490DF441DB79}"/>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98199" y="2463021"/>
            <a:ext cx="6778543" cy="2793196"/>
          </a:xfrm>
          <a:prstGeom prst="rect">
            <a:avLst/>
          </a:prstGeom>
          <a:noFill/>
          <a:ln>
            <a:solidFill>
              <a:schemeClr val="tx1"/>
            </a:solidFill>
          </a:ln>
        </p:spPr>
      </p:pic>
    </p:spTree>
    <p:extLst>
      <p:ext uri="{BB962C8B-B14F-4D97-AF65-F5344CB8AC3E}">
        <p14:creationId xmlns:p14="http://schemas.microsoft.com/office/powerpoint/2010/main" val="265597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b="1" dirty="0"/>
              <a:t>Assessing VM Sizing</a:t>
            </a:r>
          </a:p>
        </p:txBody>
      </p:sp>
      <p:sp>
        <p:nvSpPr>
          <p:cNvPr id="6" name="Text Placeholder 5"/>
          <p:cNvSpPr>
            <a:spLocks noGrp="1"/>
          </p:cNvSpPr>
          <p:nvPr>
            <p:ph type="body" sz="quarter" idx="10"/>
          </p:nvPr>
        </p:nvSpPr>
        <p:spPr>
          <a:xfrm>
            <a:off x="584200" y="1435497"/>
            <a:ext cx="11018520" cy="3494162"/>
          </a:xfrm>
        </p:spPr>
        <p:txBody>
          <a:bodyPr/>
          <a:lstStyle/>
          <a:p>
            <a:r>
              <a:rPr lang="en-US" dirty="0">
                <a:solidFill>
                  <a:schemeClr val="tx2"/>
                </a:solidFill>
              </a:rPr>
              <a:t>Azure Migrate uses performance-based sizing to map on-premises VMs to Azure VMs + Accounts for on-premises over-allocation of VMs or low utilization</a:t>
            </a:r>
          </a:p>
          <a:p>
            <a:pPr lvl="1"/>
            <a:endParaRPr lang="en-US" sz="2400" dirty="0">
              <a:latin typeface="Segoe UI Semilight" panose="020B0402040204020203" pitchFamily="34" charset="0"/>
              <a:cs typeface="Segoe UI Semilight" panose="020B0402040204020203" pitchFamily="34" charset="0"/>
            </a:endParaRPr>
          </a:p>
          <a:p>
            <a:pPr marL="342900" lvl="1" indent="-342900">
              <a:buFont typeface="Wingdings" panose="05000000000000000000" pitchFamily="2" charset="2"/>
              <a:buChar char="§"/>
            </a:pPr>
            <a:r>
              <a:rPr lang="en-US" sz="2400" b="1" dirty="0">
                <a:latin typeface="Segoe UI Semilight" panose="020B0402040204020203" pitchFamily="34" charset="0"/>
                <a:cs typeface="Segoe UI Semilight" panose="020B0402040204020203" pitchFamily="34" charset="0"/>
              </a:rPr>
              <a:t>Storage</a:t>
            </a:r>
            <a:r>
              <a:rPr lang="en-US" sz="2400" dirty="0">
                <a:latin typeface="Segoe UI Semilight" panose="020B0402040204020203" pitchFamily="34" charset="0"/>
                <a:cs typeface="Segoe UI Semilight" panose="020B0402040204020203" pitchFamily="34" charset="0"/>
              </a:rPr>
              <a:t>: tries to map every attached disk to a disk in Azure</a:t>
            </a:r>
          </a:p>
          <a:p>
            <a:pPr lvl="1"/>
            <a:endParaRPr lang="en-US" sz="2400" dirty="0">
              <a:latin typeface="Segoe UI Semilight" panose="020B0402040204020203" pitchFamily="34" charset="0"/>
              <a:cs typeface="Segoe UI Semilight" panose="020B0402040204020203" pitchFamily="34" charset="0"/>
            </a:endParaRPr>
          </a:p>
          <a:p>
            <a:pPr marL="342900" lvl="1" indent="-342900">
              <a:buFont typeface="Wingdings" panose="05000000000000000000" pitchFamily="2" charset="2"/>
              <a:buChar char="§"/>
            </a:pPr>
            <a:r>
              <a:rPr lang="en-US" sz="2400" b="1" dirty="0">
                <a:latin typeface="Segoe UI Semilight" panose="020B0402040204020203" pitchFamily="34" charset="0"/>
                <a:cs typeface="Segoe UI Semilight" panose="020B0402040204020203" pitchFamily="34" charset="0"/>
              </a:rPr>
              <a:t>Network</a:t>
            </a:r>
            <a:r>
              <a:rPr lang="en-US" sz="2400" dirty="0">
                <a:latin typeface="Segoe UI Semilight" panose="020B0402040204020203" pitchFamily="34" charset="0"/>
                <a:cs typeface="Segoe UI Semilight" panose="020B0402040204020203" pitchFamily="34" charset="0"/>
              </a:rPr>
              <a:t>: looks for Azure VMs that can support the number of network adapters attached to a machine</a:t>
            </a:r>
          </a:p>
          <a:p>
            <a:pPr lvl="1"/>
            <a:endParaRPr lang="en-US" sz="2400" dirty="0">
              <a:latin typeface="Segoe UI Semilight" panose="020B0402040204020203" pitchFamily="34" charset="0"/>
              <a:cs typeface="Segoe UI Semilight" panose="020B0402040204020203" pitchFamily="34" charset="0"/>
            </a:endParaRPr>
          </a:p>
          <a:p>
            <a:pPr marL="342900" lvl="1" indent="-342900">
              <a:buFont typeface="Wingdings" panose="05000000000000000000" pitchFamily="2" charset="2"/>
              <a:buChar char="§"/>
            </a:pPr>
            <a:r>
              <a:rPr lang="en-US" sz="2400" b="1" dirty="0">
                <a:latin typeface="Segoe UI Semilight" panose="020B0402040204020203" pitchFamily="34" charset="0"/>
                <a:cs typeface="Segoe UI Semilight" panose="020B0402040204020203" pitchFamily="34" charset="0"/>
              </a:rPr>
              <a:t>Compute</a:t>
            </a:r>
            <a:r>
              <a:rPr lang="en-US" sz="2400" dirty="0">
                <a:latin typeface="Segoe UI Semilight" panose="020B0402040204020203" pitchFamily="34" charset="0"/>
                <a:cs typeface="Segoe UI Semilight" panose="020B0402040204020203" pitchFamily="34" charset="0"/>
              </a:rPr>
              <a:t>: assesses CPU and memory to find a suitably sized Azure VM</a:t>
            </a:r>
          </a:p>
        </p:txBody>
      </p:sp>
    </p:spTree>
    <p:extLst>
      <p:ext uri="{BB962C8B-B14F-4D97-AF65-F5344CB8AC3E}">
        <p14:creationId xmlns:p14="http://schemas.microsoft.com/office/powerpoint/2010/main" val="800566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b="1" dirty="0"/>
              <a:t>Estimating Cost</a:t>
            </a:r>
          </a:p>
        </p:txBody>
      </p:sp>
      <p:sp>
        <p:nvSpPr>
          <p:cNvPr id="6" name="Text Placeholder 5"/>
          <p:cNvSpPr>
            <a:spLocks noGrp="1"/>
          </p:cNvSpPr>
          <p:nvPr>
            <p:ph type="body" sz="quarter" idx="10"/>
          </p:nvPr>
        </p:nvSpPr>
        <p:spPr>
          <a:xfrm>
            <a:off x="584200" y="1435497"/>
            <a:ext cx="11018520" cy="3849002"/>
          </a:xfrm>
        </p:spPr>
        <p:txBody>
          <a:bodyPr/>
          <a:lstStyle/>
          <a:p>
            <a:pPr marL="0" indent="0">
              <a:buNone/>
            </a:pPr>
            <a:r>
              <a:rPr lang="en-US" b="1" dirty="0">
                <a:solidFill>
                  <a:schemeClr val="tx2"/>
                </a:solidFill>
              </a:rPr>
              <a:t>Cost assessment view with total monthly compute and storage costs</a:t>
            </a:r>
          </a:p>
          <a:p>
            <a:pPr marL="0" indent="0">
              <a:buNone/>
            </a:pPr>
            <a:endParaRPr lang="en-US" dirty="0"/>
          </a:p>
          <a:p>
            <a:pPr marL="342900" indent="-342900">
              <a:buFont typeface="Wingdings" panose="05000000000000000000" pitchFamily="2" charset="2"/>
              <a:buChar char="§"/>
            </a:pPr>
            <a:r>
              <a:rPr lang="en-US" dirty="0"/>
              <a:t>Compute</a:t>
            </a:r>
          </a:p>
          <a:p>
            <a:pPr lvl="1"/>
            <a:r>
              <a:rPr lang="en-US" sz="2400" dirty="0">
                <a:latin typeface="Segoe UI Semilight" panose="020B0402040204020203" pitchFamily="34" charset="0"/>
                <a:cs typeface="Segoe UI Semilight" panose="020B0402040204020203" pitchFamily="34" charset="0"/>
              </a:rPr>
              <a:t>	- Based on Billing API</a:t>
            </a:r>
          </a:p>
          <a:p>
            <a:pPr lvl="1"/>
            <a:r>
              <a:rPr lang="en-US" sz="2400" dirty="0">
                <a:latin typeface="Segoe UI Semilight" panose="020B0402040204020203" pitchFamily="34" charset="0"/>
                <a:cs typeface="Segoe UI Semilight" panose="020B0402040204020203" pitchFamily="34" charset="0"/>
              </a:rPr>
              <a:t>	- Aggregation across all </a:t>
            </a:r>
            <a:br>
              <a:rPr lang="en-US" sz="2400" dirty="0">
                <a:latin typeface="Segoe UI Semilight" panose="020B0402040204020203" pitchFamily="34" charset="0"/>
                <a:cs typeface="Segoe UI Semilight" panose="020B0402040204020203" pitchFamily="34" charset="0"/>
              </a:rPr>
            </a:br>
            <a:r>
              <a:rPr lang="en-US" sz="2400" dirty="0">
                <a:latin typeface="Segoe UI Semilight" panose="020B0402040204020203" pitchFamily="34" charset="0"/>
                <a:cs typeface="Segoe UI Semilight" panose="020B0402040204020203" pitchFamily="34" charset="0"/>
              </a:rPr>
              <a:t>	  machines</a:t>
            </a:r>
          </a:p>
          <a:p>
            <a:pPr lvl="1"/>
            <a:endParaRPr lang="en-US" sz="2400" dirty="0">
              <a:latin typeface="Segoe UI Semilight" panose="020B0402040204020203" pitchFamily="34" charset="0"/>
              <a:cs typeface="Segoe UI Semilight" panose="020B0402040204020203" pitchFamily="34" charset="0"/>
            </a:endParaRPr>
          </a:p>
          <a:p>
            <a:pPr marL="342900" indent="-342900">
              <a:buFont typeface="Wingdings" panose="05000000000000000000" pitchFamily="2" charset="2"/>
              <a:buChar char="§"/>
            </a:pPr>
            <a:r>
              <a:rPr lang="en-US" dirty="0"/>
              <a:t>Storage</a:t>
            </a:r>
          </a:p>
          <a:p>
            <a:pPr lvl="1"/>
            <a:r>
              <a:rPr lang="en-US" sz="2400" dirty="0">
                <a:latin typeface="Segoe UI Semilight" panose="020B0402040204020203" pitchFamily="34" charset="0"/>
                <a:cs typeface="Segoe UI Semilight" panose="020B0402040204020203" pitchFamily="34" charset="0"/>
              </a:rPr>
              <a:t>	- Aggregates costs of all </a:t>
            </a:r>
            <a:br>
              <a:rPr lang="en-US" sz="2400" dirty="0">
                <a:latin typeface="Segoe UI Semilight" panose="020B0402040204020203" pitchFamily="34" charset="0"/>
                <a:cs typeface="Segoe UI Semilight" panose="020B0402040204020203" pitchFamily="34" charset="0"/>
              </a:rPr>
            </a:br>
            <a:r>
              <a:rPr lang="en-US" sz="2400" dirty="0">
                <a:latin typeface="Segoe UI Semilight" panose="020B0402040204020203" pitchFamily="34" charset="0"/>
                <a:cs typeface="Segoe UI Semilight" panose="020B0402040204020203" pitchFamily="34" charset="0"/>
              </a:rPr>
              <a:t>	  attached disks</a:t>
            </a:r>
          </a:p>
        </p:txBody>
      </p:sp>
      <p:pic>
        <p:nvPicPr>
          <p:cNvPr id="5" name="Picture 4" descr="Screenshot of Cost details page of the assessment (in this case contoso_payroll_assessment). a dashboard shows the monthly cost estimates in USD for compute and storage. Line items for each VM display the Azure VM size and level of storage on which the compute and storage cost estimates are based.">
            <a:extLst>
              <a:ext uri="{FF2B5EF4-FFF2-40B4-BE49-F238E27FC236}">
                <a16:creationId xmlns:a16="http://schemas.microsoft.com/office/drawing/2014/main" id="{86A51805-374B-408A-8488-3C07D8AD72A7}"/>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841253" y="2318063"/>
            <a:ext cx="6065433" cy="3414355"/>
          </a:xfrm>
          <a:prstGeom prst="rect">
            <a:avLst/>
          </a:prstGeom>
          <a:noFill/>
          <a:ln>
            <a:solidFill>
              <a:schemeClr val="tx1"/>
            </a:solidFill>
          </a:ln>
        </p:spPr>
      </p:pic>
    </p:spTree>
    <p:extLst>
      <p:ext uri="{BB962C8B-B14F-4D97-AF65-F5344CB8AC3E}">
        <p14:creationId xmlns:p14="http://schemas.microsoft.com/office/powerpoint/2010/main" val="916306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6C2DC-3E3F-439B-82E6-4E111D9B8F8F}"/>
              </a:ext>
            </a:extLst>
          </p:cNvPr>
          <p:cNvSpPr>
            <a:spLocks noGrp="1"/>
          </p:cNvSpPr>
          <p:nvPr>
            <p:ph type="title"/>
          </p:nvPr>
        </p:nvSpPr>
        <p:spPr/>
        <p:txBody>
          <a:bodyPr/>
          <a:lstStyle/>
          <a:p>
            <a:r>
              <a:rPr lang="en-US" dirty="0"/>
              <a:t>Service Map</a:t>
            </a:r>
            <a:endParaRPr lang="en-IN" dirty="0"/>
          </a:p>
        </p:txBody>
      </p:sp>
      <p:sp>
        <p:nvSpPr>
          <p:cNvPr id="3" name="Text Placeholder 2">
            <a:extLst>
              <a:ext uri="{FF2B5EF4-FFF2-40B4-BE49-F238E27FC236}">
                <a16:creationId xmlns:a16="http://schemas.microsoft.com/office/drawing/2014/main" id="{B8721D18-DED5-4B5E-A1AA-4D505EC05130}"/>
              </a:ext>
            </a:extLst>
          </p:cNvPr>
          <p:cNvSpPr>
            <a:spLocks noGrp="1"/>
          </p:cNvSpPr>
          <p:nvPr>
            <p:ph type="body" sz="quarter" idx="10"/>
          </p:nvPr>
        </p:nvSpPr>
        <p:spPr>
          <a:xfrm>
            <a:off x="584200" y="1435497"/>
            <a:ext cx="4558016" cy="4247317"/>
          </a:xfrm>
        </p:spPr>
        <p:txBody>
          <a:bodyPr/>
          <a:lstStyle/>
          <a:p>
            <a:pPr marL="342900" indent="-342900">
              <a:buFont typeface="Wingdings" panose="05000000000000000000" pitchFamily="2" charset="2"/>
              <a:buChar char="§"/>
            </a:pPr>
            <a:r>
              <a:rPr lang="en-US" sz="2400" dirty="0">
                <a:latin typeface="+mn-lt"/>
              </a:rPr>
              <a:t>Automatically discovers application components on Windows and Linux systems and maps the communication between services.</a:t>
            </a:r>
          </a:p>
          <a:p>
            <a:endParaRPr lang="en-US" sz="2400" dirty="0">
              <a:latin typeface="+mn-lt"/>
            </a:endParaRPr>
          </a:p>
          <a:p>
            <a:pPr marL="342900" indent="-342900">
              <a:buFont typeface="Wingdings" panose="05000000000000000000" pitchFamily="2" charset="2"/>
              <a:buChar char="§"/>
            </a:pPr>
            <a:r>
              <a:rPr lang="en-US" sz="2400" dirty="0">
                <a:latin typeface="+mn-lt"/>
              </a:rPr>
              <a:t>Shows connections between servers, processes, inbound and outbound connection latency, and ports across any TCP-connected architecture</a:t>
            </a:r>
            <a:endParaRPr lang="en-IN" sz="2400" dirty="0">
              <a:latin typeface="+mn-lt"/>
            </a:endParaRPr>
          </a:p>
        </p:txBody>
      </p:sp>
      <p:pic>
        <p:nvPicPr>
          <p:cNvPr id="4" name="Picture 3">
            <a:extLst>
              <a:ext uri="{FF2B5EF4-FFF2-40B4-BE49-F238E27FC236}">
                <a16:creationId xmlns:a16="http://schemas.microsoft.com/office/drawing/2014/main" id="{5A0CF41D-7945-40D4-B1E2-3F9E6BFA432E}"/>
              </a:ext>
            </a:extLst>
          </p:cNvPr>
          <p:cNvPicPr>
            <a:picLocks noChangeAspect="1"/>
          </p:cNvPicPr>
          <p:nvPr/>
        </p:nvPicPr>
        <p:blipFill>
          <a:blip r:embed="rId3"/>
          <a:stretch>
            <a:fillRect/>
          </a:stretch>
        </p:blipFill>
        <p:spPr>
          <a:xfrm>
            <a:off x="6410960" y="203200"/>
            <a:ext cx="5560275" cy="3724910"/>
          </a:xfrm>
          <a:prstGeom prst="rect">
            <a:avLst/>
          </a:prstGeom>
        </p:spPr>
      </p:pic>
      <p:pic>
        <p:nvPicPr>
          <p:cNvPr id="5" name="Picture 4">
            <a:extLst>
              <a:ext uri="{FF2B5EF4-FFF2-40B4-BE49-F238E27FC236}">
                <a16:creationId xmlns:a16="http://schemas.microsoft.com/office/drawing/2014/main" id="{CF78D16D-E6F8-4CAA-8E37-1C5349C29042}"/>
              </a:ext>
            </a:extLst>
          </p:cNvPr>
          <p:cNvPicPr>
            <a:picLocks noChangeAspect="1"/>
          </p:cNvPicPr>
          <p:nvPr/>
        </p:nvPicPr>
        <p:blipFill>
          <a:blip r:embed="rId4"/>
          <a:stretch>
            <a:fillRect/>
          </a:stretch>
        </p:blipFill>
        <p:spPr>
          <a:xfrm>
            <a:off x="5669280" y="3932175"/>
            <a:ext cx="6522720" cy="2872294"/>
          </a:xfrm>
          <a:prstGeom prst="rect">
            <a:avLst/>
          </a:prstGeom>
        </p:spPr>
      </p:pic>
    </p:spTree>
    <p:extLst>
      <p:ext uri="{BB962C8B-B14F-4D97-AF65-F5344CB8AC3E}">
        <p14:creationId xmlns:p14="http://schemas.microsoft.com/office/powerpoint/2010/main" val="186968525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6C863B-FC1C-404D-BFC1-538135A8DDCC}"/>
              </a:ext>
            </a:extLst>
          </p:cNvPr>
          <p:cNvSpPr>
            <a:spLocks noGrp="1"/>
          </p:cNvSpPr>
          <p:nvPr>
            <p:ph type="title"/>
          </p:nvPr>
        </p:nvSpPr>
        <p:spPr/>
        <p:txBody>
          <a:bodyPr/>
          <a:lstStyle/>
          <a:p>
            <a:r>
              <a:rPr lang="en-US" dirty="0"/>
              <a:t>Demo</a:t>
            </a:r>
          </a:p>
        </p:txBody>
      </p:sp>
      <p:sp>
        <p:nvSpPr>
          <p:cNvPr id="5" name="Text Placeholder 4">
            <a:extLst>
              <a:ext uri="{FF2B5EF4-FFF2-40B4-BE49-F238E27FC236}">
                <a16:creationId xmlns:a16="http://schemas.microsoft.com/office/drawing/2014/main" id="{25B6FF80-8F8E-4588-B1B7-EF822E49F33D}"/>
              </a:ext>
            </a:extLst>
          </p:cNvPr>
          <p:cNvSpPr>
            <a:spLocks noGrp="1"/>
          </p:cNvSpPr>
          <p:nvPr>
            <p:ph type="body" sz="quarter" idx="12"/>
          </p:nvPr>
        </p:nvSpPr>
        <p:spPr/>
        <p:txBody>
          <a:bodyPr/>
          <a:lstStyle/>
          <a:p>
            <a:r>
              <a:rPr lang="en-US" dirty="0"/>
              <a:t>Azure Migrate Assessment of Virtual Machine workloads </a:t>
            </a:r>
          </a:p>
        </p:txBody>
      </p:sp>
    </p:spTree>
    <p:extLst>
      <p:ext uri="{BB962C8B-B14F-4D97-AF65-F5344CB8AC3E}">
        <p14:creationId xmlns:p14="http://schemas.microsoft.com/office/powerpoint/2010/main" val="371177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a:xfrm>
            <a:off x="585216" y="3035808"/>
            <a:ext cx="9144000" cy="498598"/>
          </a:xfrm>
        </p:spPr>
        <p:txBody>
          <a:bodyPr/>
          <a:lstStyle/>
          <a:p>
            <a:r>
              <a:rPr lang="en-US" b="1" dirty="0"/>
              <a:t>Assessment of SQL Server Databases</a:t>
            </a:r>
            <a:endParaRPr lang="en-US" dirty="0"/>
          </a:p>
        </p:txBody>
      </p:sp>
    </p:spTree>
    <p:extLst>
      <p:ext uri="{BB962C8B-B14F-4D97-AF65-F5344CB8AC3E}">
        <p14:creationId xmlns:p14="http://schemas.microsoft.com/office/powerpoint/2010/main" val="1068413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10E449-36C2-4544-AE0C-B28E01F646C2}"/>
              </a:ext>
            </a:extLst>
          </p:cNvPr>
          <p:cNvSpPr>
            <a:spLocks noGrp="1"/>
          </p:cNvSpPr>
          <p:nvPr>
            <p:ph type="title"/>
          </p:nvPr>
        </p:nvSpPr>
        <p:spPr/>
        <p:txBody>
          <a:bodyPr/>
          <a:lstStyle/>
          <a:p>
            <a:r>
              <a:rPr lang="en-US" dirty="0"/>
              <a:t>Azure Data Migration Assistant (SQL)</a:t>
            </a:r>
          </a:p>
        </p:txBody>
      </p:sp>
      <p:sp>
        <p:nvSpPr>
          <p:cNvPr id="4" name="Text Placeholder 3">
            <a:extLst>
              <a:ext uri="{FF2B5EF4-FFF2-40B4-BE49-F238E27FC236}">
                <a16:creationId xmlns:a16="http://schemas.microsoft.com/office/drawing/2014/main" id="{A7667D57-DD4A-418E-9787-77D76C159F0F}"/>
              </a:ext>
            </a:extLst>
          </p:cNvPr>
          <p:cNvSpPr>
            <a:spLocks noGrp="1"/>
          </p:cNvSpPr>
          <p:nvPr>
            <p:ph type="body" sz="quarter" idx="10"/>
          </p:nvPr>
        </p:nvSpPr>
        <p:spPr>
          <a:xfrm>
            <a:off x="584200" y="1435497"/>
            <a:ext cx="11018520" cy="4040914"/>
          </a:xfrm>
        </p:spPr>
        <p:txBody>
          <a:bodyPr/>
          <a:lstStyle/>
          <a:p>
            <a:pPr marL="342900" indent="-342900">
              <a:buFont typeface="Wingdings" panose="05000000000000000000" pitchFamily="2" charset="2"/>
              <a:buChar char="§"/>
            </a:pPr>
            <a:r>
              <a:rPr lang="en-US" dirty="0">
                <a:solidFill>
                  <a:schemeClr val="tx2"/>
                </a:solidFill>
              </a:rPr>
              <a:t>The Data Migration Assistant (DMA) helps you upgrade to a modern data platform by:</a:t>
            </a:r>
          </a:p>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r>
              <a:rPr lang="en-US" sz="2000" dirty="0"/>
              <a:t>detecting compatibility issues that can impact database functionality in your new version of SQL Server or Azure SQL Database </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DMA recommends performance and reliability improvements for your target environment </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and allows you to move your schema, data, and uncontained objects from your source server to your target server</a:t>
            </a:r>
            <a:br>
              <a:rPr lang="en-US" sz="2000" dirty="0"/>
            </a:br>
            <a:endParaRPr lang="en-US" sz="2000" dirty="0"/>
          </a:p>
          <a:p>
            <a:pPr marL="342900" indent="-342900">
              <a:buFont typeface="Wingdings" panose="05000000000000000000" pitchFamily="2" charset="2"/>
              <a:buChar char="§"/>
            </a:pPr>
            <a:r>
              <a:rPr lang="en-US" sz="2000" dirty="0"/>
              <a:t>Assessment and migration can be run at once, or separate, as well as repeatable (Delta)</a:t>
            </a:r>
          </a:p>
        </p:txBody>
      </p:sp>
    </p:spTree>
    <p:extLst>
      <p:ext uri="{BB962C8B-B14F-4D97-AF65-F5344CB8AC3E}">
        <p14:creationId xmlns:p14="http://schemas.microsoft.com/office/powerpoint/2010/main" val="23121004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10E449-36C2-4544-AE0C-B28E01F646C2}"/>
              </a:ext>
            </a:extLst>
          </p:cNvPr>
          <p:cNvSpPr>
            <a:spLocks noGrp="1"/>
          </p:cNvSpPr>
          <p:nvPr>
            <p:ph type="title"/>
          </p:nvPr>
        </p:nvSpPr>
        <p:spPr/>
        <p:txBody>
          <a:bodyPr/>
          <a:lstStyle/>
          <a:p>
            <a:r>
              <a:rPr lang="en-US" dirty="0"/>
              <a:t>Azure Data Migration Assistant (SQL)</a:t>
            </a:r>
          </a:p>
        </p:txBody>
      </p:sp>
      <p:sp>
        <p:nvSpPr>
          <p:cNvPr id="4" name="Text Placeholder 3">
            <a:extLst>
              <a:ext uri="{FF2B5EF4-FFF2-40B4-BE49-F238E27FC236}">
                <a16:creationId xmlns:a16="http://schemas.microsoft.com/office/drawing/2014/main" id="{A7667D57-DD4A-418E-9787-77D76C159F0F}"/>
              </a:ext>
            </a:extLst>
          </p:cNvPr>
          <p:cNvSpPr>
            <a:spLocks noGrp="1"/>
          </p:cNvSpPr>
          <p:nvPr>
            <p:ph type="body" sz="quarter" idx="10"/>
          </p:nvPr>
        </p:nvSpPr>
        <p:spPr>
          <a:xfrm>
            <a:off x="584200" y="1435497"/>
            <a:ext cx="3998074" cy="3479671"/>
          </a:xfrm>
        </p:spPr>
        <p:txBody>
          <a:bodyPr/>
          <a:lstStyle/>
          <a:p>
            <a:pPr marL="342900" indent="-342900">
              <a:buFont typeface="Wingdings" panose="05000000000000000000" pitchFamily="2" charset="2"/>
              <a:buChar char="§"/>
            </a:pPr>
            <a:r>
              <a:rPr lang="en-US" dirty="0">
                <a:solidFill>
                  <a:schemeClr val="tx2"/>
                </a:solidFill>
              </a:rPr>
              <a:t>Supported Sources:</a:t>
            </a:r>
          </a:p>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r>
              <a:rPr lang="en-US" sz="2000" dirty="0"/>
              <a:t>SQL Server 2005</a:t>
            </a:r>
          </a:p>
          <a:p>
            <a:pPr marL="342900" indent="-342900">
              <a:buFont typeface="Wingdings" panose="05000000000000000000" pitchFamily="2" charset="2"/>
              <a:buChar char="§"/>
            </a:pPr>
            <a:r>
              <a:rPr lang="en-US" sz="2000" dirty="0"/>
              <a:t>SQL Server 2008</a:t>
            </a:r>
          </a:p>
          <a:p>
            <a:pPr marL="342900" indent="-342900">
              <a:buFont typeface="Wingdings" panose="05000000000000000000" pitchFamily="2" charset="2"/>
              <a:buChar char="§"/>
            </a:pPr>
            <a:r>
              <a:rPr lang="en-US" sz="2000" dirty="0"/>
              <a:t>SQL Server 2008 R2</a:t>
            </a:r>
          </a:p>
          <a:p>
            <a:pPr marL="342900" indent="-342900">
              <a:buFont typeface="Wingdings" panose="05000000000000000000" pitchFamily="2" charset="2"/>
              <a:buChar char="§"/>
            </a:pPr>
            <a:r>
              <a:rPr lang="en-US" sz="2000" dirty="0"/>
              <a:t>SQL Server 2012</a:t>
            </a:r>
          </a:p>
          <a:p>
            <a:pPr marL="342900" indent="-342900">
              <a:buFont typeface="Wingdings" panose="05000000000000000000" pitchFamily="2" charset="2"/>
              <a:buChar char="§"/>
            </a:pPr>
            <a:r>
              <a:rPr lang="en-US" sz="2000" dirty="0"/>
              <a:t>SQL Server 2014</a:t>
            </a:r>
          </a:p>
          <a:p>
            <a:pPr marL="342900" indent="-342900">
              <a:buFont typeface="Wingdings" panose="05000000000000000000" pitchFamily="2" charset="2"/>
              <a:buChar char="§"/>
            </a:pPr>
            <a:r>
              <a:rPr lang="en-US" sz="2000" dirty="0"/>
              <a:t>SQL Server 2016</a:t>
            </a:r>
          </a:p>
          <a:p>
            <a:pPr marL="342900" indent="-342900">
              <a:buFont typeface="Wingdings" panose="05000000000000000000" pitchFamily="2" charset="2"/>
              <a:buChar char="§"/>
            </a:pPr>
            <a:r>
              <a:rPr lang="en-US" sz="2000" dirty="0"/>
              <a:t>SQL Server 2017 on Windows</a:t>
            </a:r>
          </a:p>
        </p:txBody>
      </p:sp>
      <p:sp>
        <p:nvSpPr>
          <p:cNvPr id="2" name="Arrow: Right 1">
            <a:extLst>
              <a:ext uri="{FF2B5EF4-FFF2-40B4-BE49-F238E27FC236}">
                <a16:creationId xmlns:a16="http://schemas.microsoft.com/office/drawing/2014/main" id="{E64B8A7A-8A1A-4881-A0D3-2F120A179910}"/>
              </a:ext>
            </a:extLst>
          </p:cNvPr>
          <p:cNvSpPr/>
          <p:nvPr/>
        </p:nvSpPr>
        <p:spPr bwMode="auto">
          <a:xfrm>
            <a:off x="4659330" y="2640458"/>
            <a:ext cx="1977776" cy="1294544"/>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3999ED71-616E-46BF-A484-F4983242AF62}"/>
              </a:ext>
            </a:extLst>
          </p:cNvPr>
          <p:cNvSpPr txBox="1">
            <a:spLocks/>
          </p:cNvSpPr>
          <p:nvPr/>
        </p:nvSpPr>
        <p:spPr>
          <a:xfrm>
            <a:off x="7558641" y="1435497"/>
            <a:ext cx="3998074" cy="3479671"/>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Wingdings" panose="05000000000000000000" pitchFamily="2" charset="2"/>
              <a:buChar char="§"/>
            </a:pPr>
            <a:r>
              <a:rPr lang="en-US" dirty="0">
                <a:solidFill>
                  <a:schemeClr val="tx2"/>
                </a:solidFill>
              </a:rPr>
              <a:t>Azure Targets:</a:t>
            </a:r>
          </a:p>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r>
              <a:rPr lang="en-US" sz="2000" dirty="0"/>
              <a:t>SQL Server 2012</a:t>
            </a:r>
          </a:p>
          <a:p>
            <a:pPr marL="342900" indent="-342900">
              <a:buFont typeface="Wingdings" panose="05000000000000000000" pitchFamily="2" charset="2"/>
              <a:buChar char="§"/>
            </a:pPr>
            <a:r>
              <a:rPr lang="en-US" sz="2000" dirty="0"/>
              <a:t>SQL Server 2014</a:t>
            </a:r>
          </a:p>
          <a:p>
            <a:pPr marL="342900" indent="-342900">
              <a:buFont typeface="Wingdings" panose="05000000000000000000" pitchFamily="2" charset="2"/>
              <a:buChar char="§"/>
            </a:pPr>
            <a:r>
              <a:rPr lang="en-US" sz="2000" dirty="0"/>
              <a:t>SQL Server 2016</a:t>
            </a:r>
          </a:p>
          <a:p>
            <a:pPr marL="342900" indent="-342900">
              <a:buFont typeface="Wingdings" panose="05000000000000000000" pitchFamily="2" charset="2"/>
              <a:buChar char="§"/>
            </a:pPr>
            <a:r>
              <a:rPr lang="en-US" sz="2000" dirty="0"/>
              <a:t>SQL Server 2017 on Windows and Linux</a:t>
            </a:r>
          </a:p>
          <a:p>
            <a:pPr marL="342900" indent="-342900">
              <a:buFont typeface="Wingdings" panose="05000000000000000000" pitchFamily="2" charset="2"/>
              <a:buChar char="§"/>
            </a:pPr>
            <a:r>
              <a:rPr lang="en-US" sz="2000" dirty="0"/>
              <a:t>Azure SQL Database</a:t>
            </a:r>
          </a:p>
          <a:p>
            <a:pPr marL="342900" indent="-342900">
              <a:buFont typeface="Wingdings" panose="05000000000000000000" pitchFamily="2" charset="2"/>
              <a:buChar char="§"/>
            </a:pPr>
            <a:r>
              <a:rPr lang="en-US" sz="2000" dirty="0"/>
              <a:t>Azure SQL Database Managed Instance</a:t>
            </a:r>
          </a:p>
        </p:txBody>
      </p:sp>
    </p:spTree>
    <p:extLst>
      <p:ext uri="{BB962C8B-B14F-4D97-AF65-F5344CB8AC3E}">
        <p14:creationId xmlns:p14="http://schemas.microsoft.com/office/powerpoint/2010/main" val="94602450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F0270B5-22F4-450B-B9B1-1993F852EB3A}"/>
              </a:ext>
            </a:extLst>
          </p:cNvPr>
          <p:cNvSpPr>
            <a:spLocks noGrp="1"/>
          </p:cNvSpPr>
          <p:nvPr>
            <p:ph type="title"/>
          </p:nvPr>
        </p:nvSpPr>
        <p:spPr/>
        <p:txBody>
          <a:bodyPr/>
          <a:lstStyle/>
          <a:p>
            <a:r>
              <a:rPr lang="fr-BE" dirty="0"/>
              <a:t>Workshop </a:t>
            </a:r>
            <a:r>
              <a:rPr lang="fr-BE" dirty="0" err="1"/>
              <a:t>delivery</a:t>
            </a:r>
            <a:endParaRPr lang="fr-BE" dirty="0"/>
          </a:p>
        </p:txBody>
      </p:sp>
      <p:sp>
        <p:nvSpPr>
          <p:cNvPr id="7" name="Content Placeholder 6">
            <a:extLst>
              <a:ext uri="{FF2B5EF4-FFF2-40B4-BE49-F238E27FC236}">
                <a16:creationId xmlns:a16="http://schemas.microsoft.com/office/drawing/2014/main" id="{017A06BC-5AAA-4743-8DA2-F038871A3F4D}"/>
              </a:ext>
            </a:extLst>
          </p:cNvPr>
          <p:cNvSpPr>
            <a:spLocks noGrp="1"/>
          </p:cNvSpPr>
          <p:nvPr>
            <p:ph type="body" sz="quarter" idx="10"/>
          </p:nvPr>
        </p:nvSpPr>
        <p:spPr>
          <a:xfrm>
            <a:off x="584200" y="1435497"/>
            <a:ext cx="11018520" cy="4167616"/>
          </a:xfrm>
        </p:spPr>
        <p:txBody>
          <a:bodyPr/>
          <a:lstStyle/>
          <a:p>
            <a:r>
              <a:rPr lang="fr-BE" dirty="0">
                <a:solidFill>
                  <a:srgbClr val="00B0F0"/>
                </a:solidFill>
              </a:rPr>
              <a:t>For the </a:t>
            </a:r>
            <a:r>
              <a:rPr lang="fr-BE" dirty="0" err="1">
                <a:solidFill>
                  <a:srgbClr val="00B0F0"/>
                </a:solidFill>
              </a:rPr>
              <a:t>technical</a:t>
            </a:r>
            <a:r>
              <a:rPr lang="fr-BE" dirty="0">
                <a:solidFill>
                  <a:srgbClr val="00B0F0"/>
                </a:solidFill>
              </a:rPr>
              <a:t> </a:t>
            </a:r>
            <a:r>
              <a:rPr lang="fr-BE" dirty="0" err="1">
                <a:solidFill>
                  <a:srgbClr val="00B0F0"/>
                </a:solidFill>
              </a:rPr>
              <a:t>trainers</a:t>
            </a:r>
            <a:r>
              <a:rPr lang="fr-BE" dirty="0">
                <a:solidFill>
                  <a:srgbClr val="00B0F0"/>
                </a:solidFill>
              </a:rPr>
              <a:t>:</a:t>
            </a:r>
          </a:p>
          <a:p>
            <a:endParaRPr lang="fr-BE" dirty="0">
              <a:solidFill>
                <a:srgbClr val="00B0F0"/>
              </a:solidFill>
            </a:endParaRPr>
          </a:p>
          <a:p>
            <a:pPr marL="342900" indent="-342900">
              <a:buFontTx/>
              <a:buChar char="-"/>
            </a:pPr>
            <a:r>
              <a:rPr lang="fr-BE" dirty="0" err="1"/>
              <a:t>Each</a:t>
            </a:r>
            <a:r>
              <a:rPr lang="fr-BE" dirty="0"/>
              <a:t> Module </a:t>
            </a:r>
            <a:r>
              <a:rPr lang="fr-BE" dirty="0" err="1"/>
              <a:t>could</a:t>
            </a:r>
            <a:r>
              <a:rPr lang="fr-BE" dirty="0"/>
              <a:t> </a:t>
            </a:r>
            <a:r>
              <a:rPr lang="fr-BE" dirty="0" err="1"/>
              <a:t>be</a:t>
            </a:r>
            <a:r>
              <a:rPr lang="fr-BE" dirty="0"/>
              <a:t> </a:t>
            </a:r>
            <a:r>
              <a:rPr lang="fr-BE" dirty="0" err="1"/>
              <a:t>presented</a:t>
            </a:r>
            <a:r>
              <a:rPr lang="fr-BE" dirty="0"/>
              <a:t> as a </a:t>
            </a:r>
            <a:r>
              <a:rPr lang="fr-BE" dirty="0" err="1"/>
              <a:t>stand-alone</a:t>
            </a:r>
            <a:r>
              <a:rPr lang="fr-BE" dirty="0"/>
              <a:t> module, </a:t>
            </a:r>
            <a:r>
              <a:rPr lang="fr-BE" dirty="0" err="1"/>
              <a:t>although</a:t>
            </a:r>
            <a:r>
              <a:rPr lang="fr-BE" dirty="0"/>
              <a:t> the full </a:t>
            </a:r>
            <a:r>
              <a:rPr lang="fr-BE" dirty="0" err="1"/>
              <a:t>potential</a:t>
            </a:r>
            <a:r>
              <a:rPr lang="fr-BE" dirty="0"/>
              <a:t> </a:t>
            </a:r>
            <a:r>
              <a:rPr lang="fr-BE" dirty="0" err="1"/>
              <a:t>comes</a:t>
            </a:r>
            <a:r>
              <a:rPr lang="fr-BE" dirty="0"/>
              <a:t> from </a:t>
            </a:r>
            <a:r>
              <a:rPr lang="fr-BE" dirty="0" err="1"/>
              <a:t>delivering</a:t>
            </a:r>
            <a:r>
              <a:rPr lang="fr-BE" dirty="0"/>
              <a:t> all modules</a:t>
            </a:r>
          </a:p>
          <a:p>
            <a:pPr marL="342900" indent="-342900">
              <a:buFontTx/>
              <a:buChar char="-"/>
            </a:pPr>
            <a:r>
              <a:rPr lang="fr-BE" dirty="0"/>
              <a:t>HOL are </a:t>
            </a:r>
            <a:r>
              <a:rPr lang="fr-BE" dirty="0" err="1"/>
              <a:t>somehow</a:t>
            </a:r>
            <a:r>
              <a:rPr lang="fr-BE" dirty="0"/>
              <a:t> </a:t>
            </a:r>
            <a:r>
              <a:rPr lang="fr-BE" dirty="0" err="1"/>
              <a:t>depending</a:t>
            </a:r>
            <a:r>
              <a:rPr lang="fr-BE" dirty="0"/>
              <a:t> on </a:t>
            </a:r>
            <a:r>
              <a:rPr lang="fr-BE" dirty="0" err="1"/>
              <a:t>each</a:t>
            </a:r>
            <a:r>
              <a:rPr lang="fr-BE" dirty="0"/>
              <a:t> </a:t>
            </a:r>
            <a:r>
              <a:rPr lang="fr-BE" dirty="0" err="1"/>
              <a:t>other</a:t>
            </a:r>
            <a:r>
              <a:rPr lang="fr-BE" dirty="0"/>
              <a:t>, </a:t>
            </a:r>
            <a:r>
              <a:rPr lang="fr-BE" dirty="0" err="1"/>
              <a:t>starting</a:t>
            </a:r>
            <a:r>
              <a:rPr lang="fr-BE" dirty="0"/>
              <a:t> from the IAC-</a:t>
            </a:r>
            <a:r>
              <a:rPr lang="fr-BE" dirty="0" err="1"/>
              <a:t>lab</a:t>
            </a:r>
            <a:r>
              <a:rPr lang="fr-BE" dirty="0"/>
              <a:t>, </a:t>
            </a:r>
            <a:r>
              <a:rPr lang="fr-BE" dirty="0" err="1"/>
              <a:t>where</a:t>
            </a:r>
            <a:r>
              <a:rPr lang="fr-BE" dirty="0"/>
              <a:t> </a:t>
            </a:r>
            <a:r>
              <a:rPr lang="fr-BE" dirty="0" err="1"/>
              <a:t>students</a:t>
            </a:r>
            <a:r>
              <a:rPr lang="fr-BE" dirty="0"/>
              <a:t> deploy the VM-</a:t>
            </a:r>
            <a:r>
              <a:rPr lang="fr-BE" dirty="0" err="1"/>
              <a:t>based</a:t>
            </a:r>
            <a:r>
              <a:rPr lang="fr-BE" dirty="0"/>
              <a:t> source </a:t>
            </a:r>
            <a:r>
              <a:rPr lang="fr-BE" dirty="0" err="1"/>
              <a:t>environment</a:t>
            </a:r>
            <a:r>
              <a:rPr lang="fr-BE" dirty="0"/>
              <a:t>, </a:t>
            </a:r>
            <a:r>
              <a:rPr lang="fr-BE" dirty="0" err="1"/>
              <a:t>moving</a:t>
            </a:r>
            <a:r>
              <a:rPr lang="fr-BE" dirty="0"/>
              <a:t> to </a:t>
            </a:r>
            <a:r>
              <a:rPr lang="fr-BE" dirty="0" err="1"/>
              <a:t>WebApps</a:t>
            </a:r>
            <a:r>
              <a:rPr lang="fr-BE" dirty="0"/>
              <a:t>, SQL PaaS, Docker, Azure Container </a:t>
            </a:r>
            <a:r>
              <a:rPr lang="fr-BE" dirty="0" err="1"/>
              <a:t>Registry</a:t>
            </a:r>
            <a:r>
              <a:rPr lang="fr-BE" dirty="0"/>
              <a:t>, running Azure Container Instance, and </a:t>
            </a:r>
            <a:r>
              <a:rPr lang="fr-BE" dirty="0" err="1"/>
              <a:t>ultimately</a:t>
            </a:r>
            <a:r>
              <a:rPr lang="fr-BE" dirty="0"/>
              <a:t> Azure Container Services </a:t>
            </a:r>
            <a:r>
              <a:rPr lang="fr-BE" dirty="0" err="1"/>
              <a:t>with</a:t>
            </a:r>
            <a:r>
              <a:rPr lang="fr-BE" dirty="0"/>
              <a:t> </a:t>
            </a:r>
            <a:r>
              <a:rPr lang="fr-BE" dirty="0" err="1"/>
              <a:t>Kubernetes</a:t>
            </a:r>
            <a:r>
              <a:rPr lang="fr-BE" dirty="0"/>
              <a:t>. (</a:t>
            </a:r>
            <a:r>
              <a:rPr lang="fr-BE" dirty="0" err="1"/>
              <a:t>only</a:t>
            </a:r>
            <a:r>
              <a:rPr lang="fr-BE" dirty="0"/>
              <a:t> </a:t>
            </a:r>
            <a:r>
              <a:rPr lang="fr-BE" dirty="0" err="1"/>
              <a:t>labs</a:t>
            </a:r>
            <a:r>
              <a:rPr lang="fr-BE" dirty="0"/>
              <a:t> </a:t>
            </a:r>
            <a:r>
              <a:rPr lang="fr-BE" dirty="0" err="1"/>
              <a:t>that</a:t>
            </a:r>
            <a:r>
              <a:rPr lang="fr-BE" dirty="0"/>
              <a:t> </a:t>
            </a:r>
            <a:r>
              <a:rPr lang="fr-BE" dirty="0" err="1"/>
              <a:t>could</a:t>
            </a:r>
            <a:r>
              <a:rPr lang="fr-BE" dirty="0"/>
              <a:t> </a:t>
            </a:r>
            <a:r>
              <a:rPr lang="fr-BE" dirty="0" err="1"/>
              <a:t>be</a:t>
            </a:r>
            <a:r>
              <a:rPr lang="fr-BE" dirty="0"/>
              <a:t> </a:t>
            </a:r>
            <a:r>
              <a:rPr lang="fr-BE" dirty="0" err="1"/>
              <a:t>skipped</a:t>
            </a:r>
            <a:r>
              <a:rPr lang="fr-BE" dirty="0"/>
              <a:t> are </a:t>
            </a:r>
            <a:r>
              <a:rPr lang="fr-BE" dirty="0" err="1"/>
              <a:t>WebApps</a:t>
            </a:r>
            <a:r>
              <a:rPr lang="fr-BE" dirty="0"/>
              <a:t> and AKS)</a:t>
            </a:r>
          </a:p>
          <a:p>
            <a:pPr marL="342900" indent="-342900">
              <a:buFontTx/>
              <a:buChar char="-"/>
            </a:pPr>
            <a:r>
              <a:rPr lang="fr-BE" dirty="0"/>
              <a:t>The HOL solution </a:t>
            </a:r>
            <a:r>
              <a:rPr lang="fr-BE" dirty="0" err="1"/>
              <a:t>is</a:t>
            </a:r>
            <a:r>
              <a:rPr lang="fr-BE" dirty="0"/>
              <a:t> </a:t>
            </a:r>
            <a:r>
              <a:rPr lang="fr-BE" dirty="0" err="1"/>
              <a:t>based</a:t>
            </a:r>
            <a:r>
              <a:rPr lang="fr-BE" dirty="0"/>
              <a:t> on a ASP.NET </a:t>
            </a:r>
            <a:r>
              <a:rPr lang="fr-BE" dirty="0" err="1"/>
              <a:t>Core</a:t>
            </a:r>
            <a:r>
              <a:rPr lang="fr-BE" dirty="0"/>
              <a:t> app « </a:t>
            </a:r>
            <a:r>
              <a:rPr lang="fr-BE" dirty="0" err="1"/>
              <a:t>SimplCommerce</a:t>
            </a:r>
            <a:r>
              <a:rPr lang="fr-BE" dirty="0"/>
              <a:t> » (Open Source), </a:t>
            </a:r>
            <a:r>
              <a:rPr lang="fr-BE" dirty="0" err="1"/>
              <a:t>using</a:t>
            </a:r>
            <a:r>
              <a:rPr lang="fr-BE" dirty="0"/>
              <a:t> SQL </a:t>
            </a:r>
            <a:r>
              <a:rPr lang="fr-BE" dirty="0" err="1"/>
              <a:t>Database</a:t>
            </a:r>
            <a:endParaRPr lang="fr-BE" dirty="0"/>
          </a:p>
        </p:txBody>
      </p:sp>
    </p:spTree>
    <p:extLst>
      <p:ext uri="{BB962C8B-B14F-4D97-AF65-F5344CB8AC3E}">
        <p14:creationId xmlns:p14="http://schemas.microsoft.com/office/powerpoint/2010/main" val="30462374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10E449-36C2-4544-AE0C-B28E01F646C2}"/>
              </a:ext>
            </a:extLst>
          </p:cNvPr>
          <p:cNvSpPr>
            <a:spLocks noGrp="1"/>
          </p:cNvSpPr>
          <p:nvPr>
            <p:ph type="title"/>
          </p:nvPr>
        </p:nvSpPr>
        <p:spPr/>
        <p:txBody>
          <a:bodyPr/>
          <a:lstStyle/>
          <a:p>
            <a:r>
              <a:rPr lang="en-US" dirty="0"/>
              <a:t>Azure Data Migration Assistant (SQL)</a:t>
            </a:r>
          </a:p>
        </p:txBody>
      </p:sp>
      <p:sp>
        <p:nvSpPr>
          <p:cNvPr id="8" name="Text Placeholder 7">
            <a:extLst>
              <a:ext uri="{FF2B5EF4-FFF2-40B4-BE49-F238E27FC236}">
                <a16:creationId xmlns:a16="http://schemas.microsoft.com/office/drawing/2014/main" id="{6971A6A7-03D8-4A7C-8521-77E0A5FCD962}"/>
              </a:ext>
            </a:extLst>
          </p:cNvPr>
          <p:cNvSpPr>
            <a:spLocks noGrp="1"/>
          </p:cNvSpPr>
          <p:nvPr>
            <p:ph type="body" sz="quarter" idx="10"/>
          </p:nvPr>
        </p:nvSpPr>
        <p:spPr>
          <a:xfrm>
            <a:off x="584200" y="1435497"/>
            <a:ext cx="11018520" cy="1270925"/>
          </a:xfrm>
        </p:spPr>
        <p:txBody>
          <a:bodyPr/>
          <a:lstStyle/>
          <a:p>
            <a:pPr marL="457200" indent="-457200">
              <a:buAutoNum type="arabicPeriod"/>
            </a:pPr>
            <a:r>
              <a:rPr lang="en-US" dirty="0"/>
              <a:t>Download Data Migration Assistant (DMA) Tool</a:t>
            </a:r>
            <a:br>
              <a:rPr lang="en-US" dirty="0"/>
            </a:br>
            <a:endParaRPr lang="en-US" dirty="0"/>
          </a:p>
          <a:p>
            <a:pPr marL="457200" indent="-457200">
              <a:buAutoNum type="arabicPeriod"/>
            </a:pPr>
            <a:r>
              <a:rPr lang="en-US" dirty="0"/>
              <a:t>Create New Assessment</a:t>
            </a:r>
          </a:p>
        </p:txBody>
      </p:sp>
      <p:pic>
        <p:nvPicPr>
          <p:cNvPr id="3074" name="Picture 2" descr="Create an assessment">
            <a:extLst>
              <a:ext uri="{FF2B5EF4-FFF2-40B4-BE49-F238E27FC236}">
                <a16:creationId xmlns:a16="http://schemas.microsoft.com/office/drawing/2014/main" id="{C36D2003-9346-452D-9948-8A73F719CC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2269" y="2070959"/>
            <a:ext cx="7171362" cy="377897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413691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10E449-36C2-4544-AE0C-B28E01F646C2}"/>
              </a:ext>
            </a:extLst>
          </p:cNvPr>
          <p:cNvSpPr>
            <a:spLocks noGrp="1"/>
          </p:cNvSpPr>
          <p:nvPr>
            <p:ph type="title"/>
          </p:nvPr>
        </p:nvSpPr>
        <p:spPr/>
        <p:txBody>
          <a:bodyPr/>
          <a:lstStyle/>
          <a:p>
            <a:r>
              <a:rPr lang="en-US" dirty="0"/>
              <a:t>Azure Data Migration Assistant (SQL)</a:t>
            </a:r>
          </a:p>
        </p:txBody>
      </p:sp>
      <p:sp>
        <p:nvSpPr>
          <p:cNvPr id="8" name="Text Placeholder 7">
            <a:extLst>
              <a:ext uri="{FF2B5EF4-FFF2-40B4-BE49-F238E27FC236}">
                <a16:creationId xmlns:a16="http://schemas.microsoft.com/office/drawing/2014/main" id="{6971A6A7-03D8-4A7C-8521-77E0A5FCD962}"/>
              </a:ext>
            </a:extLst>
          </p:cNvPr>
          <p:cNvSpPr>
            <a:spLocks noGrp="1"/>
          </p:cNvSpPr>
          <p:nvPr>
            <p:ph type="body" sz="quarter" idx="10"/>
          </p:nvPr>
        </p:nvSpPr>
        <p:spPr>
          <a:xfrm>
            <a:off x="584200" y="1435497"/>
            <a:ext cx="11018520" cy="2357184"/>
          </a:xfrm>
        </p:spPr>
        <p:txBody>
          <a:bodyPr/>
          <a:lstStyle/>
          <a:p>
            <a:pPr marL="457200" indent="-457200">
              <a:buAutoNum type="arabicPeriod"/>
            </a:pPr>
            <a:r>
              <a:rPr lang="en-US" dirty="0"/>
              <a:t>Download Data Migration Assistant (DMA) Tool</a:t>
            </a:r>
            <a:br>
              <a:rPr lang="en-US" dirty="0"/>
            </a:br>
            <a:endParaRPr lang="en-US" dirty="0"/>
          </a:p>
          <a:p>
            <a:pPr marL="457200" indent="-457200">
              <a:buAutoNum type="arabicPeriod"/>
            </a:pPr>
            <a:r>
              <a:rPr lang="en-US" dirty="0"/>
              <a:t>Create New Assessment</a:t>
            </a:r>
            <a:br>
              <a:rPr lang="en-US" dirty="0"/>
            </a:br>
            <a:endParaRPr lang="en-US" dirty="0"/>
          </a:p>
          <a:p>
            <a:pPr marL="457200" indent="-457200">
              <a:buAutoNum type="arabicPeriod"/>
            </a:pPr>
            <a:r>
              <a:rPr lang="en-US" dirty="0"/>
              <a:t>Choose Assessment</a:t>
            </a:r>
            <a:br>
              <a:rPr lang="en-US" dirty="0"/>
            </a:br>
            <a:r>
              <a:rPr lang="en-US" dirty="0"/>
              <a:t>Options</a:t>
            </a:r>
          </a:p>
        </p:txBody>
      </p:sp>
      <p:pic>
        <p:nvPicPr>
          <p:cNvPr id="4098" name="Picture 2" descr="Select an assessment report type for SQL Server target">
            <a:extLst>
              <a:ext uri="{FF2B5EF4-FFF2-40B4-BE49-F238E27FC236}">
                <a16:creationId xmlns:a16="http://schemas.microsoft.com/office/drawing/2014/main" id="{760AC23B-49DF-417C-995C-48EA1B0990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1173" y="2070959"/>
            <a:ext cx="7171362" cy="446659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460906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10E449-36C2-4544-AE0C-B28E01F646C2}"/>
              </a:ext>
            </a:extLst>
          </p:cNvPr>
          <p:cNvSpPr>
            <a:spLocks noGrp="1"/>
          </p:cNvSpPr>
          <p:nvPr>
            <p:ph type="title"/>
          </p:nvPr>
        </p:nvSpPr>
        <p:spPr/>
        <p:txBody>
          <a:bodyPr/>
          <a:lstStyle/>
          <a:p>
            <a:r>
              <a:rPr lang="en-US" dirty="0"/>
              <a:t>Azure Data Migration Assistant (SQL)</a:t>
            </a:r>
          </a:p>
        </p:txBody>
      </p:sp>
      <p:sp>
        <p:nvSpPr>
          <p:cNvPr id="8" name="Text Placeholder 7">
            <a:extLst>
              <a:ext uri="{FF2B5EF4-FFF2-40B4-BE49-F238E27FC236}">
                <a16:creationId xmlns:a16="http://schemas.microsoft.com/office/drawing/2014/main" id="{6971A6A7-03D8-4A7C-8521-77E0A5FCD962}"/>
              </a:ext>
            </a:extLst>
          </p:cNvPr>
          <p:cNvSpPr>
            <a:spLocks noGrp="1"/>
          </p:cNvSpPr>
          <p:nvPr>
            <p:ph type="body" sz="quarter" idx="10"/>
          </p:nvPr>
        </p:nvSpPr>
        <p:spPr>
          <a:xfrm>
            <a:off x="584200" y="1435497"/>
            <a:ext cx="11018520" cy="3443443"/>
          </a:xfrm>
        </p:spPr>
        <p:txBody>
          <a:bodyPr/>
          <a:lstStyle/>
          <a:p>
            <a:pPr marL="457200" indent="-457200">
              <a:buAutoNum type="arabicPeriod"/>
            </a:pPr>
            <a:r>
              <a:rPr lang="en-US" dirty="0"/>
              <a:t>Download Data Migration Assistant (DMA) Tool</a:t>
            </a:r>
            <a:br>
              <a:rPr lang="en-US" dirty="0"/>
            </a:br>
            <a:endParaRPr lang="en-US" dirty="0"/>
          </a:p>
          <a:p>
            <a:pPr marL="457200" indent="-457200">
              <a:buAutoNum type="arabicPeriod"/>
            </a:pPr>
            <a:r>
              <a:rPr lang="en-US" dirty="0"/>
              <a:t>Create New Assessment</a:t>
            </a:r>
            <a:br>
              <a:rPr lang="en-US" dirty="0"/>
            </a:br>
            <a:endParaRPr lang="en-US" dirty="0"/>
          </a:p>
          <a:p>
            <a:pPr marL="457200" indent="-457200">
              <a:buAutoNum type="arabicPeriod"/>
            </a:pPr>
            <a:r>
              <a:rPr lang="en-US" dirty="0"/>
              <a:t>Choose Assessment</a:t>
            </a:r>
            <a:br>
              <a:rPr lang="en-US" dirty="0"/>
            </a:br>
            <a:r>
              <a:rPr lang="en-US" dirty="0"/>
              <a:t>Options</a:t>
            </a:r>
            <a:br>
              <a:rPr lang="en-US" dirty="0"/>
            </a:br>
            <a:endParaRPr lang="en-US" dirty="0"/>
          </a:p>
          <a:p>
            <a:pPr marL="457200" indent="-457200">
              <a:buAutoNum type="arabicPeriod"/>
            </a:pPr>
            <a:r>
              <a:rPr lang="en-US" dirty="0"/>
              <a:t>Review Results</a:t>
            </a:r>
            <a:br>
              <a:rPr lang="en-US" dirty="0"/>
            </a:br>
            <a:r>
              <a:rPr lang="en-US" dirty="0"/>
              <a:t>(Compatibility Issues)</a:t>
            </a:r>
          </a:p>
        </p:txBody>
      </p:sp>
      <p:pic>
        <p:nvPicPr>
          <p:cNvPr id="6146" name="Picture 2" descr="View assessment results">
            <a:extLst>
              <a:ext uri="{FF2B5EF4-FFF2-40B4-BE49-F238E27FC236}">
                <a16:creationId xmlns:a16="http://schemas.microsoft.com/office/drawing/2014/main" id="{8FAD5AC1-9394-4B23-B188-9F90789485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6612" y="2070958"/>
            <a:ext cx="7227370" cy="4641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277932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10E449-36C2-4544-AE0C-B28E01F646C2}"/>
              </a:ext>
            </a:extLst>
          </p:cNvPr>
          <p:cNvSpPr>
            <a:spLocks noGrp="1"/>
          </p:cNvSpPr>
          <p:nvPr>
            <p:ph type="title"/>
          </p:nvPr>
        </p:nvSpPr>
        <p:spPr/>
        <p:txBody>
          <a:bodyPr/>
          <a:lstStyle/>
          <a:p>
            <a:r>
              <a:rPr lang="en-US" dirty="0"/>
              <a:t>Azure Data Migration Assistant (SQL)</a:t>
            </a:r>
          </a:p>
        </p:txBody>
      </p:sp>
      <p:sp>
        <p:nvSpPr>
          <p:cNvPr id="8" name="Text Placeholder 7">
            <a:extLst>
              <a:ext uri="{FF2B5EF4-FFF2-40B4-BE49-F238E27FC236}">
                <a16:creationId xmlns:a16="http://schemas.microsoft.com/office/drawing/2014/main" id="{6971A6A7-03D8-4A7C-8521-77E0A5FCD962}"/>
              </a:ext>
            </a:extLst>
          </p:cNvPr>
          <p:cNvSpPr>
            <a:spLocks noGrp="1"/>
          </p:cNvSpPr>
          <p:nvPr>
            <p:ph type="body" sz="quarter" idx="10"/>
          </p:nvPr>
        </p:nvSpPr>
        <p:spPr>
          <a:xfrm>
            <a:off x="584200" y="1435497"/>
            <a:ext cx="11018520" cy="3805529"/>
          </a:xfrm>
        </p:spPr>
        <p:txBody>
          <a:bodyPr/>
          <a:lstStyle/>
          <a:p>
            <a:pPr marL="457200" indent="-457200">
              <a:buAutoNum type="arabicPeriod"/>
            </a:pPr>
            <a:r>
              <a:rPr lang="en-US" dirty="0"/>
              <a:t>Download Data Migration Assistant (DMA) Tool</a:t>
            </a:r>
            <a:br>
              <a:rPr lang="en-US" dirty="0"/>
            </a:br>
            <a:endParaRPr lang="en-US" dirty="0"/>
          </a:p>
          <a:p>
            <a:pPr marL="457200" indent="-457200">
              <a:buAutoNum type="arabicPeriod"/>
            </a:pPr>
            <a:r>
              <a:rPr lang="en-US" dirty="0"/>
              <a:t>Create New Assessment</a:t>
            </a:r>
            <a:br>
              <a:rPr lang="en-US" dirty="0"/>
            </a:br>
            <a:endParaRPr lang="en-US" dirty="0"/>
          </a:p>
          <a:p>
            <a:pPr marL="457200" indent="-457200">
              <a:buAutoNum type="arabicPeriod"/>
            </a:pPr>
            <a:r>
              <a:rPr lang="en-US" dirty="0"/>
              <a:t>Choose Assessment</a:t>
            </a:r>
            <a:br>
              <a:rPr lang="en-US" dirty="0"/>
            </a:br>
            <a:r>
              <a:rPr lang="en-US" dirty="0"/>
              <a:t>Options</a:t>
            </a:r>
            <a:br>
              <a:rPr lang="en-US" dirty="0"/>
            </a:br>
            <a:endParaRPr lang="en-US" dirty="0"/>
          </a:p>
          <a:p>
            <a:pPr marL="457200" indent="-457200">
              <a:buAutoNum type="arabicPeriod"/>
            </a:pPr>
            <a:r>
              <a:rPr lang="en-US" dirty="0"/>
              <a:t>Review Results</a:t>
            </a:r>
            <a:br>
              <a:rPr lang="en-US" dirty="0"/>
            </a:br>
            <a:r>
              <a:rPr lang="en-US" dirty="0"/>
              <a:t>(Performance, Storage &amp;</a:t>
            </a:r>
            <a:br>
              <a:rPr lang="en-US" dirty="0"/>
            </a:br>
            <a:r>
              <a:rPr lang="en-US" dirty="0"/>
              <a:t>Security)</a:t>
            </a:r>
          </a:p>
        </p:txBody>
      </p:sp>
      <p:pic>
        <p:nvPicPr>
          <p:cNvPr id="7170" name="Picture 2" descr="View feature recommendations">
            <a:extLst>
              <a:ext uri="{FF2B5EF4-FFF2-40B4-BE49-F238E27FC236}">
                <a16:creationId xmlns:a16="http://schemas.microsoft.com/office/drawing/2014/main" id="{57A50DE8-6AA2-4468-BC82-D61D10931D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42905" y="2106202"/>
            <a:ext cx="7209577" cy="461823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896173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B3F67-100D-4F56-87A6-3D3D89B2407C}"/>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CD4E7680-6A84-47E9-A5DE-8FB293CA8D1D}"/>
              </a:ext>
            </a:extLst>
          </p:cNvPr>
          <p:cNvSpPr>
            <a:spLocks noGrp="1"/>
          </p:cNvSpPr>
          <p:nvPr>
            <p:ph type="body" sz="quarter" idx="12"/>
          </p:nvPr>
        </p:nvSpPr>
        <p:spPr/>
        <p:txBody>
          <a:bodyPr/>
          <a:lstStyle/>
          <a:p>
            <a:r>
              <a:rPr lang="en-US" dirty="0"/>
              <a:t>Azure Database Migration Assistant</a:t>
            </a:r>
          </a:p>
        </p:txBody>
      </p:sp>
    </p:spTree>
    <p:extLst>
      <p:ext uri="{BB962C8B-B14F-4D97-AF65-F5344CB8AC3E}">
        <p14:creationId xmlns:p14="http://schemas.microsoft.com/office/powerpoint/2010/main" val="149779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a:xfrm>
            <a:off x="585216" y="3035808"/>
            <a:ext cx="9144000" cy="498598"/>
          </a:xfrm>
        </p:spPr>
        <p:txBody>
          <a:bodyPr/>
          <a:lstStyle/>
          <a:p>
            <a:r>
              <a:rPr lang="en-US" b="1" dirty="0"/>
              <a:t>Assessment of (Web) Application Servers</a:t>
            </a:r>
            <a:endParaRPr lang="en-US" dirty="0"/>
          </a:p>
        </p:txBody>
      </p:sp>
    </p:spTree>
    <p:extLst>
      <p:ext uri="{BB962C8B-B14F-4D97-AF65-F5344CB8AC3E}">
        <p14:creationId xmlns:p14="http://schemas.microsoft.com/office/powerpoint/2010/main" val="46998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10E449-36C2-4544-AE0C-B28E01F646C2}"/>
              </a:ext>
            </a:extLst>
          </p:cNvPr>
          <p:cNvSpPr>
            <a:spLocks noGrp="1"/>
          </p:cNvSpPr>
          <p:nvPr>
            <p:ph type="title"/>
          </p:nvPr>
        </p:nvSpPr>
        <p:spPr/>
        <p:txBody>
          <a:bodyPr/>
          <a:lstStyle/>
          <a:p>
            <a:r>
              <a:rPr lang="en-US" dirty="0"/>
              <a:t>Azure App Service Migration Assistant (Web)</a:t>
            </a:r>
          </a:p>
        </p:txBody>
      </p:sp>
      <p:sp>
        <p:nvSpPr>
          <p:cNvPr id="4" name="Text Placeholder 3">
            <a:extLst>
              <a:ext uri="{FF2B5EF4-FFF2-40B4-BE49-F238E27FC236}">
                <a16:creationId xmlns:a16="http://schemas.microsoft.com/office/drawing/2014/main" id="{A7667D57-DD4A-418E-9787-77D76C159F0F}"/>
              </a:ext>
            </a:extLst>
          </p:cNvPr>
          <p:cNvSpPr>
            <a:spLocks noGrp="1"/>
          </p:cNvSpPr>
          <p:nvPr>
            <p:ph type="body" sz="quarter" idx="10"/>
          </p:nvPr>
        </p:nvSpPr>
        <p:spPr>
          <a:xfrm>
            <a:off x="584200" y="1435497"/>
            <a:ext cx="11018520" cy="4348691"/>
          </a:xfrm>
        </p:spPr>
        <p:txBody>
          <a:bodyPr/>
          <a:lstStyle/>
          <a:p>
            <a:pPr marL="342900" indent="-342900">
              <a:buFont typeface="Wingdings" panose="05000000000000000000" pitchFamily="2" charset="2"/>
              <a:buChar char="§"/>
            </a:pPr>
            <a:r>
              <a:rPr lang="en-US" dirty="0">
                <a:solidFill>
                  <a:schemeClr val="tx2"/>
                </a:solidFill>
              </a:rPr>
              <a:t>The App Service Migration Assistant (SMA) helps you </a:t>
            </a:r>
            <a:r>
              <a:rPr lang="en-US" dirty="0" err="1">
                <a:solidFill>
                  <a:schemeClr val="tx2"/>
                </a:solidFill>
              </a:rPr>
              <a:t>migrade</a:t>
            </a:r>
            <a:r>
              <a:rPr lang="en-US" dirty="0">
                <a:solidFill>
                  <a:schemeClr val="tx2"/>
                </a:solidFill>
              </a:rPr>
              <a:t> to a modern web app platform by:</a:t>
            </a:r>
          </a:p>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r>
              <a:rPr lang="en-US" sz="2000" dirty="0"/>
              <a:t>Performing an assessment to verify whether your app is a good candidate for migration by running a scan of its public URL</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Running the assessment out-of-the-box, by downloading the App Migration Assistant</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Use the tool to run readiness checks and general assessment of application config settings, before running the actual migration</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If assessment is successful, you have the option to perform the migration of the app as well from the same tool</a:t>
            </a:r>
          </a:p>
        </p:txBody>
      </p:sp>
    </p:spTree>
    <p:extLst>
      <p:ext uri="{BB962C8B-B14F-4D97-AF65-F5344CB8AC3E}">
        <p14:creationId xmlns:p14="http://schemas.microsoft.com/office/powerpoint/2010/main" val="242972812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10E449-36C2-4544-AE0C-B28E01F646C2}"/>
              </a:ext>
            </a:extLst>
          </p:cNvPr>
          <p:cNvSpPr>
            <a:spLocks noGrp="1"/>
          </p:cNvSpPr>
          <p:nvPr>
            <p:ph type="title"/>
          </p:nvPr>
        </p:nvSpPr>
        <p:spPr/>
        <p:txBody>
          <a:bodyPr/>
          <a:lstStyle/>
          <a:p>
            <a:r>
              <a:rPr lang="en-US" dirty="0"/>
              <a:t>Azure App Service Migration Assistant (Web)</a:t>
            </a:r>
          </a:p>
        </p:txBody>
      </p:sp>
      <p:sp>
        <p:nvSpPr>
          <p:cNvPr id="4" name="Text Placeholder 3">
            <a:extLst>
              <a:ext uri="{FF2B5EF4-FFF2-40B4-BE49-F238E27FC236}">
                <a16:creationId xmlns:a16="http://schemas.microsoft.com/office/drawing/2014/main" id="{A7667D57-DD4A-418E-9787-77D76C159F0F}"/>
              </a:ext>
            </a:extLst>
          </p:cNvPr>
          <p:cNvSpPr>
            <a:spLocks noGrp="1"/>
          </p:cNvSpPr>
          <p:nvPr>
            <p:ph type="body" sz="quarter" idx="10"/>
          </p:nvPr>
        </p:nvSpPr>
        <p:spPr>
          <a:xfrm>
            <a:off x="584200" y="1435497"/>
            <a:ext cx="11018520" cy="3063274"/>
          </a:xfrm>
        </p:spPr>
        <p:txBody>
          <a:bodyPr/>
          <a:lstStyle/>
          <a:p>
            <a:pPr marL="342900" indent="-342900">
              <a:buFont typeface="Wingdings" panose="05000000000000000000" pitchFamily="2" charset="2"/>
              <a:buChar char="§"/>
            </a:pPr>
            <a:r>
              <a:rPr lang="en-US" dirty="0">
                <a:solidFill>
                  <a:schemeClr val="tx2"/>
                </a:solidFill>
              </a:rPr>
              <a:t>Supports more than just Microsoft Development Languages:</a:t>
            </a:r>
          </a:p>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r>
              <a:rPr lang="en-US" sz="2000" dirty="0" err="1"/>
              <a:t>DotNet</a:t>
            </a:r>
            <a:r>
              <a:rPr lang="en-US" sz="2000" dirty="0"/>
              <a:t> &amp; </a:t>
            </a:r>
            <a:r>
              <a:rPr lang="en-US" sz="2000" dirty="0" err="1"/>
              <a:t>DotNetCore</a:t>
            </a:r>
            <a:endParaRPr lang="en-US" sz="2000" dirty="0"/>
          </a:p>
          <a:p>
            <a:pPr marL="342900" indent="-342900">
              <a:buFont typeface="Wingdings" panose="05000000000000000000" pitchFamily="2" charset="2"/>
              <a:buChar char="§"/>
            </a:pPr>
            <a:r>
              <a:rPr lang="en-US" sz="2000" dirty="0"/>
              <a:t>Ruby</a:t>
            </a:r>
          </a:p>
          <a:p>
            <a:pPr marL="342900" indent="-342900">
              <a:buFont typeface="Wingdings" panose="05000000000000000000" pitchFamily="2" charset="2"/>
              <a:buChar char="§"/>
            </a:pPr>
            <a:r>
              <a:rPr lang="en-US" sz="2000" dirty="0"/>
              <a:t>Java</a:t>
            </a:r>
          </a:p>
          <a:p>
            <a:pPr marL="342900" indent="-342900">
              <a:buFont typeface="Wingdings" panose="05000000000000000000" pitchFamily="2" charset="2"/>
              <a:buChar char="§"/>
            </a:pPr>
            <a:r>
              <a:rPr lang="en-US" sz="2000" dirty="0"/>
              <a:t>JavaScript</a:t>
            </a:r>
          </a:p>
          <a:p>
            <a:pPr marL="342900" indent="-342900">
              <a:buFont typeface="Wingdings" panose="05000000000000000000" pitchFamily="2" charset="2"/>
              <a:buChar char="§"/>
            </a:pPr>
            <a:r>
              <a:rPr lang="en-US" sz="2000" dirty="0"/>
              <a:t>PHP</a:t>
            </a:r>
          </a:p>
          <a:p>
            <a:pPr marL="342900" indent="-342900">
              <a:buFont typeface="Wingdings" panose="05000000000000000000" pitchFamily="2" charset="2"/>
              <a:buChar char="§"/>
            </a:pPr>
            <a:r>
              <a:rPr lang="en-US" sz="2000" dirty="0"/>
              <a:t>Docker</a:t>
            </a:r>
          </a:p>
          <a:p>
            <a:pPr marL="342900" indent="-342900">
              <a:buFont typeface="Wingdings" panose="05000000000000000000" pitchFamily="2" charset="2"/>
              <a:buChar char="§"/>
            </a:pPr>
            <a:r>
              <a:rPr lang="en-US" sz="2000" dirty="0"/>
              <a:t>Git</a:t>
            </a:r>
          </a:p>
        </p:txBody>
      </p:sp>
      <p:pic>
        <p:nvPicPr>
          <p:cNvPr id="8194" name="Picture 2" descr="Technologies">
            <a:extLst>
              <a:ext uri="{FF2B5EF4-FFF2-40B4-BE49-F238E27FC236}">
                <a16:creationId xmlns:a16="http://schemas.microsoft.com/office/drawing/2014/main" id="{34451406-2206-4C94-89F0-551C27F1F9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9169" y="2504218"/>
            <a:ext cx="5553551" cy="26431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451774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10E449-36C2-4544-AE0C-B28E01F646C2}"/>
              </a:ext>
            </a:extLst>
          </p:cNvPr>
          <p:cNvSpPr>
            <a:spLocks noGrp="1"/>
          </p:cNvSpPr>
          <p:nvPr>
            <p:ph type="title"/>
          </p:nvPr>
        </p:nvSpPr>
        <p:spPr/>
        <p:txBody>
          <a:bodyPr/>
          <a:lstStyle/>
          <a:p>
            <a:r>
              <a:rPr lang="en-US" dirty="0"/>
              <a:t>Azure App Service Migration Assistant (Web)</a:t>
            </a:r>
          </a:p>
        </p:txBody>
      </p:sp>
      <p:sp>
        <p:nvSpPr>
          <p:cNvPr id="4" name="Text Placeholder 3">
            <a:extLst>
              <a:ext uri="{FF2B5EF4-FFF2-40B4-BE49-F238E27FC236}">
                <a16:creationId xmlns:a16="http://schemas.microsoft.com/office/drawing/2014/main" id="{A7667D57-DD4A-418E-9787-77D76C159F0F}"/>
              </a:ext>
            </a:extLst>
          </p:cNvPr>
          <p:cNvSpPr>
            <a:spLocks noGrp="1"/>
          </p:cNvSpPr>
          <p:nvPr>
            <p:ph type="body" sz="quarter" idx="10"/>
          </p:nvPr>
        </p:nvSpPr>
        <p:spPr>
          <a:xfrm>
            <a:off x="584200" y="1435497"/>
            <a:ext cx="11018520" cy="5272021"/>
          </a:xfrm>
        </p:spPr>
        <p:txBody>
          <a:bodyPr/>
          <a:lstStyle/>
          <a:p>
            <a:pPr marL="342900" indent="-342900">
              <a:buFont typeface="Wingdings" panose="05000000000000000000" pitchFamily="2" charset="2"/>
              <a:buChar char="§"/>
            </a:pPr>
            <a:r>
              <a:rPr lang="en-US" dirty="0">
                <a:solidFill>
                  <a:schemeClr val="tx2"/>
                </a:solidFill>
              </a:rPr>
              <a:t>The Migration Assistant performs </a:t>
            </a:r>
            <a:br>
              <a:rPr lang="en-US" dirty="0">
                <a:solidFill>
                  <a:schemeClr val="tx2"/>
                </a:solidFill>
              </a:rPr>
            </a:br>
            <a:r>
              <a:rPr lang="en-US" dirty="0">
                <a:solidFill>
                  <a:schemeClr val="tx2"/>
                </a:solidFill>
              </a:rPr>
              <a:t>the following checks:</a:t>
            </a:r>
          </a:p>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r>
              <a:rPr lang="en-US" sz="2000" dirty="0"/>
              <a:t>Port Bindings</a:t>
            </a:r>
          </a:p>
          <a:p>
            <a:pPr marL="342900" indent="-342900">
              <a:buFont typeface="Wingdings" panose="05000000000000000000" pitchFamily="2" charset="2"/>
              <a:buChar char="§"/>
            </a:pPr>
            <a:r>
              <a:rPr lang="en-US" sz="2000" dirty="0"/>
              <a:t>Protocols</a:t>
            </a:r>
          </a:p>
          <a:p>
            <a:pPr marL="342900" indent="-342900">
              <a:buFont typeface="Wingdings" panose="05000000000000000000" pitchFamily="2" charset="2"/>
              <a:buChar char="§"/>
            </a:pPr>
            <a:r>
              <a:rPr lang="en-US" sz="2000" dirty="0"/>
              <a:t>Certificates</a:t>
            </a:r>
          </a:p>
          <a:p>
            <a:pPr marL="342900" indent="-342900">
              <a:buFont typeface="Wingdings" panose="05000000000000000000" pitchFamily="2" charset="2"/>
              <a:buChar char="§"/>
            </a:pPr>
            <a:r>
              <a:rPr lang="en-US" sz="2000" dirty="0"/>
              <a:t>Location Tags</a:t>
            </a:r>
          </a:p>
          <a:p>
            <a:pPr marL="342900" indent="-342900">
              <a:buFont typeface="Wingdings" panose="05000000000000000000" pitchFamily="2" charset="2"/>
              <a:buChar char="§"/>
            </a:pPr>
            <a:r>
              <a:rPr lang="en-US" sz="2000" dirty="0"/>
              <a:t>ISAPI Filters</a:t>
            </a:r>
          </a:p>
          <a:p>
            <a:pPr marL="342900" indent="-342900">
              <a:buFont typeface="Wingdings" panose="05000000000000000000" pitchFamily="2" charset="2"/>
              <a:buChar char="§"/>
            </a:pPr>
            <a:r>
              <a:rPr lang="en-US" sz="2000" dirty="0"/>
              <a:t>Application Pools</a:t>
            </a:r>
          </a:p>
          <a:p>
            <a:pPr marL="342900" indent="-342900">
              <a:buFont typeface="Wingdings" panose="05000000000000000000" pitchFamily="2" charset="2"/>
              <a:buChar char="§"/>
            </a:pPr>
            <a:r>
              <a:rPr lang="en-US" sz="2000" dirty="0"/>
              <a:t>Application Pool Identity</a:t>
            </a:r>
          </a:p>
          <a:p>
            <a:pPr marL="342900" indent="-342900">
              <a:buFont typeface="Wingdings" panose="05000000000000000000" pitchFamily="2" charset="2"/>
              <a:buChar char="§"/>
            </a:pPr>
            <a:r>
              <a:rPr lang="en-US" sz="2000" dirty="0"/>
              <a:t>Authentication Type</a:t>
            </a:r>
          </a:p>
          <a:p>
            <a:pPr marL="342900" indent="-342900">
              <a:buFont typeface="Wingdings" panose="05000000000000000000" pitchFamily="2" charset="2"/>
              <a:buChar char="§"/>
            </a:pPr>
            <a:r>
              <a:rPr lang="en-US" sz="2000" dirty="0"/>
              <a:t>Application Settings</a:t>
            </a:r>
          </a:p>
          <a:p>
            <a:pPr marL="342900" indent="-342900">
              <a:buFont typeface="Wingdings" panose="05000000000000000000" pitchFamily="2" charset="2"/>
              <a:buChar char="§"/>
            </a:pPr>
            <a:r>
              <a:rPr lang="en-US" sz="2000" dirty="0"/>
              <a:t>Connection Strings</a:t>
            </a:r>
          </a:p>
          <a:p>
            <a:pPr marL="342900" indent="-342900">
              <a:buFont typeface="Wingdings" panose="05000000000000000000" pitchFamily="2" charset="2"/>
              <a:buChar char="§"/>
            </a:pPr>
            <a:r>
              <a:rPr lang="en-US" sz="2000" dirty="0"/>
              <a:t>Frameworks</a:t>
            </a:r>
          </a:p>
          <a:p>
            <a:pPr marL="342900" indent="-342900">
              <a:buFont typeface="Wingdings" panose="05000000000000000000" pitchFamily="2" charset="2"/>
              <a:buChar char="§"/>
            </a:pPr>
            <a:r>
              <a:rPr lang="en-US" sz="2000" dirty="0"/>
              <a:t>Configuration Errors</a:t>
            </a:r>
          </a:p>
          <a:p>
            <a:pPr marL="342900" indent="-342900">
              <a:buFont typeface="Wingdings" panose="05000000000000000000" pitchFamily="2" charset="2"/>
              <a:buChar char="§"/>
            </a:pPr>
            <a:r>
              <a:rPr lang="en-US" sz="2000" dirty="0"/>
              <a:t>Virtual Directories</a:t>
            </a:r>
          </a:p>
        </p:txBody>
      </p:sp>
      <p:pic>
        <p:nvPicPr>
          <p:cNvPr id="2" name="Picture 1">
            <a:extLst>
              <a:ext uri="{FF2B5EF4-FFF2-40B4-BE49-F238E27FC236}">
                <a16:creationId xmlns:a16="http://schemas.microsoft.com/office/drawing/2014/main" id="{948AA774-1C68-4E7E-91B6-12D78FC062F9}"/>
              </a:ext>
            </a:extLst>
          </p:cNvPr>
          <p:cNvPicPr>
            <a:picLocks noChangeAspect="1"/>
          </p:cNvPicPr>
          <p:nvPr/>
        </p:nvPicPr>
        <p:blipFill>
          <a:blip r:embed="rId2"/>
          <a:stretch>
            <a:fillRect/>
          </a:stretch>
        </p:blipFill>
        <p:spPr>
          <a:xfrm>
            <a:off x="7019147" y="1014255"/>
            <a:ext cx="4583573" cy="5645737"/>
          </a:xfrm>
          <a:prstGeom prst="rect">
            <a:avLst/>
          </a:prstGeom>
          <a:ln>
            <a:solidFill>
              <a:schemeClr val="tx1"/>
            </a:solidFill>
          </a:ln>
        </p:spPr>
      </p:pic>
    </p:spTree>
    <p:extLst>
      <p:ext uri="{BB962C8B-B14F-4D97-AF65-F5344CB8AC3E}">
        <p14:creationId xmlns:p14="http://schemas.microsoft.com/office/powerpoint/2010/main" val="286018964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B3F67-100D-4F56-87A6-3D3D89B2407C}"/>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CD4E7680-6A84-47E9-A5DE-8FB293CA8D1D}"/>
              </a:ext>
            </a:extLst>
          </p:cNvPr>
          <p:cNvSpPr>
            <a:spLocks noGrp="1"/>
          </p:cNvSpPr>
          <p:nvPr>
            <p:ph type="body" sz="quarter" idx="12"/>
          </p:nvPr>
        </p:nvSpPr>
        <p:spPr/>
        <p:txBody>
          <a:bodyPr/>
          <a:lstStyle/>
          <a:p>
            <a:r>
              <a:rPr lang="en-US" dirty="0"/>
              <a:t>Azure App Services Migration Assistant</a:t>
            </a:r>
          </a:p>
        </p:txBody>
      </p:sp>
    </p:spTree>
    <p:extLst>
      <p:ext uri="{BB962C8B-B14F-4D97-AF65-F5344CB8AC3E}">
        <p14:creationId xmlns:p14="http://schemas.microsoft.com/office/powerpoint/2010/main" val="201171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F0270B5-22F4-450B-B9B1-1993F852EB3A}"/>
              </a:ext>
            </a:extLst>
          </p:cNvPr>
          <p:cNvSpPr>
            <a:spLocks noGrp="1"/>
          </p:cNvSpPr>
          <p:nvPr>
            <p:ph type="title"/>
          </p:nvPr>
        </p:nvSpPr>
        <p:spPr/>
        <p:txBody>
          <a:bodyPr/>
          <a:lstStyle/>
          <a:p>
            <a:r>
              <a:rPr lang="fr-BE" dirty="0"/>
              <a:t>Workshop </a:t>
            </a:r>
            <a:r>
              <a:rPr lang="fr-BE" dirty="0" err="1"/>
              <a:t>delivery</a:t>
            </a:r>
            <a:endParaRPr lang="fr-BE" dirty="0"/>
          </a:p>
        </p:txBody>
      </p:sp>
      <p:sp>
        <p:nvSpPr>
          <p:cNvPr id="7" name="Content Placeholder 6">
            <a:extLst>
              <a:ext uri="{FF2B5EF4-FFF2-40B4-BE49-F238E27FC236}">
                <a16:creationId xmlns:a16="http://schemas.microsoft.com/office/drawing/2014/main" id="{017A06BC-5AAA-4743-8DA2-F038871A3F4D}"/>
              </a:ext>
            </a:extLst>
          </p:cNvPr>
          <p:cNvSpPr>
            <a:spLocks noGrp="1"/>
          </p:cNvSpPr>
          <p:nvPr>
            <p:ph type="body" sz="quarter" idx="10"/>
          </p:nvPr>
        </p:nvSpPr>
        <p:spPr>
          <a:xfrm>
            <a:off x="584200" y="1435497"/>
            <a:ext cx="11018520" cy="3081356"/>
          </a:xfrm>
        </p:spPr>
        <p:txBody>
          <a:bodyPr/>
          <a:lstStyle/>
          <a:p>
            <a:r>
              <a:rPr lang="fr-BE" dirty="0">
                <a:solidFill>
                  <a:srgbClr val="00B0F0"/>
                </a:solidFill>
              </a:rPr>
              <a:t>For the </a:t>
            </a:r>
            <a:r>
              <a:rPr lang="fr-BE" dirty="0" err="1">
                <a:solidFill>
                  <a:srgbClr val="00B0F0"/>
                </a:solidFill>
              </a:rPr>
              <a:t>technical</a:t>
            </a:r>
            <a:r>
              <a:rPr lang="fr-BE" dirty="0">
                <a:solidFill>
                  <a:srgbClr val="00B0F0"/>
                </a:solidFill>
              </a:rPr>
              <a:t> </a:t>
            </a:r>
            <a:r>
              <a:rPr lang="fr-BE" dirty="0" err="1">
                <a:solidFill>
                  <a:srgbClr val="00B0F0"/>
                </a:solidFill>
              </a:rPr>
              <a:t>trainers</a:t>
            </a:r>
            <a:r>
              <a:rPr lang="fr-BE" dirty="0">
                <a:solidFill>
                  <a:srgbClr val="00B0F0"/>
                </a:solidFill>
              </a:rPr>
              <a:t>:</a:t>
            </a:r>
          </a:p>
          <a:p>
            <a:endParaRPr lang="fr-BE" dirty="0">
              <a:solidFill>
                <a:srgbClr val="00B0F0"/>
              </a:solidFill>
            </a:endParaRPr>
          </a:p>
          <a:p>
            <a:pPr marL="342900" indent="-342900">
              <a:buFontTx/>
              <a:buChar char="-"/>
            </a:pPr>
            <a:r>
              <a:rPr lang="fr-BE" dirty="0" err="1"/>
              <a:t>Whenever</a:t>
            </a:r>
            <a:r>
              <a:rPr lang="fr-BE" dirty="0"/>
              <a:t> </a:t>
            </a:r>
            <a:r>
              <a:rPr lang="fr-BE" dirty="0" err="1"/>
              <a:t>you</a:t>
            </a:r>
            <a:r>
              <a:rPr lang="fr-BE" dirty="0"/>
              <a:t> </a:t>
            </a:r>
            <a:r>
              <a:rPr lang="fr-BE" dirty="0" err="1"/>
              <a:t>detect</a:t>
            </a:r>
            <a:r>
              <a:rPr lang="fr-BE" dirty="0"/>
              <a:t> </a:t>
            </a:r>
            <a:r>
              <a:rPr lang="fr-BE" dirty="0" err="1"/>
              <a:t>any</a:t>
            </a:r>
            <a:r>
              <a:rPr lang="fr-BE" dirty="0"/>
              <a:t> </a:t>
            </a:r>
            <a:r>
              <a:rPr lang="fr-BE" dirty="0" err="1"/>
              <a:t>mistakes</a:t>
            </a:r>
            <a:r>
              <a:rPr lang="fr-BE" dirty="0"/>
              <a:t>, issues, </a:t>
            </a:r>
            <a:r>
              <a:rPr lang="fr-BE" dirty="0" err="1"/>
              <a:t>wrong</a:t>
            </a:r>
            <a:r>
              <a:rPr lang="fr-BE" dirty="0"/>
              <a:t> </a:t>
            </a:r>
            <a:r>
              <a:rPr lang="fr-BE" dirty="0" err="1"/>
              <a:t>wordings</a:t>
            </a:r>
            <a:r>
              <a:rPr lang="fr-BE" dirty="0"/>
              <a:t>,… in </a:t>
            </a:r>
            <a:r>
              <a:rPr lang="fr-BE" dirty="0" err="1"/>
              <a:t>presentations</a:t>
            </a:r>
            <a:r>
              <a:rPr lang="fr-BE" dirty="0"/>
              <a:t> or LAB guides, </a:t>
            </a:r>
            <a:r>
              <a:rPr lang="fr-BE" dirty="0" err="1"/>
              <a:t>please</a:t>
            </a:r>
            <a:r>
              <a:rPr lang="fr-BE" dirty="0"/>
              <a:t> </a:t>
            </a:r>
            <a:r>
              <a:rPr lang="fr-BE" dirty="0" err="1"/>
              <a:t>send</a:t>
            </a:r>
            <a:r>
              <a:rPr lang="fr-BE" dirty="0"/>
              <a:t> an email to :</a:t>
            </a:r>
          </a:p>
          <a:p>
            <a:pPr marL="342900" indent="-342900">
              <a:buFontTx/>
              <a:buChar char="-"/>
            </a:pPr>
            <a:r>
              <a:rPr lang="fr-BE" dirty="0">
                <a:hlinkClick r:id="rId2"/>
              </a:rPr>
              <a:t>msdevseriessupport@007FFFLearning.com</a:t>
            </a:r>
            <a:r>
              <a:rPr lang="fr-BE" dirty="0"/>
              <a:t>, </a:t>
            </a:r>
            <a:r>
              <a:rPr lang="fr-BE" dirty="0" err="1"/>
              <a:t>subject</a:t>
            </a:r>
            <a:r>
              <a:rPr lang="fr-BE" dirty="0"/>
              <a:t> « Azure </a:t>
            </a:r>
            <a:r>
              <a:rPr lang="fr-BE" dirty="0" err="1"/>
              <a:t>Developer</a:t>
            </a:r>
            <a:r>
              <a:rPr lang="fr-BE" dirty="0"/>
              <a:t> </a:t>
            </a:r>
            <a:r>
              <a:rPr lang="fr-BE" dirty="0" err="1"/>
              <a:t>Series</a:t>
            </a:r>
            <a:r>
              <a:rPr lang="fr-BE" dirty="0"/>
              <a:t> – Containers », </a:t>
            </a:r>
            <a:r>
              <a:rPr lang="fr-BE" dirty="0" err="1"/>
              <a:t>so</a:t>
            </a:r>
            <a:r>
              <a:rPr lang="fr-BE" dirty="0"/>
              <a:t> </a:t>
            </a:r>
            <a:r>
              <a:rPr lang="fr-BE" dirty="0" err="1"/>
              <a:t>we</a:t>
            </a:r>
            <a:r>
              <a:rPr lang="fr-BE" dirty="0"/>
              <a:t> can </a:t>
            </a:r>
            <a:r>
              <a:rPr lang="fr-BE" dirty="0" err="1"/>
              <a:t>take</a:t>
            </a:r>
            <a:r>
              <a:rPr lang="fr-BE" dirty="0"/>
              <a:t> care of </a:t>
            </a:r>
            <a:r>
              <a:rPr lang="fr-BE" dirty="0" err="1"/>
              <a:t>this</a:t>
            </a:r>
            <a:r>
              <a:rPr lang="fr-BE" dirty="0"/>
              <a:t> and fixing </a:t>
            </a:r>
            <a:r>
              <a:rPr lang="fr-BE" dirty="0" err="1"/>
              <a:t>it</a:t>
            </a:r>
            <a:r>
              <a:rPr lang="fr-BE" dirty="0"/>
              <a:t> </a:t>
            </a:r>
            <a:r>
              <a:rPr lang="fr-BE" dirty="0" err="1"/>
              <a:t>immediately</a:t>
            </a:r>
            <a:endParaRPr lang="fr-BE" dirty="0"/>
          </a:p>
          <a:p>
            <a:pPr marL="342900" indent="-342900">
              <a:buFontTx/>
              <a:buChar char="-"/>
            </a:pPr>
            <a:r>
              <a:rPr lang="fr-BE" dirty="0" err="1"/>
              <a:t>Latest</a:t>
            </a:r>
            <a:r>
              <a:rPr lang="fr-BE" dirty="0"/>
              <a:t> version of all content </a:t>
            </a:r>
            <a:r>
              <a:rPr lang="fr-BE" dirty="0" err="1"/>
              <a:t>should</a:t>
            </a:r>
            <a:r>
              <a:rPr lang="fr-BE" dirty="0"/>
              <a:t> </a:t>
            </a:r>
            <a:r>
              <a:rPr lang="fr-BE" dirty="0" err="1"/>
              <a:t>be</a:t>
            </a:r>
            <a:r>
              <a:rPr lang="fr-BE" dirty="0"/>
              <a:t> </a:t>
            </a:r>
            <a:r>
              <a:rPr lang="fr-BE" dirty="0" err="1"/>
              <a:t>available</a:t>
            </a:r>
            <a:r>
              <a:rPr lang="fr-BE" dirty="0"/>
              <a:t> on GitHub:</a:t>
            </a:r>
          </a:p>
          <a:p>
            <a:pPr marL="342900" indent="-342900">
              <a:buFontTx/>
              <a:buChar char="-"/>
            </a:pPr>
            <a:r>
              <a:rPr lang="fr-BE" dirty="0"/>
              <a:t>http://www.github.com/007FFFLearning/MSDevSeriesSupport</a:t>
            </a:r>
          </a:p>
        </p:txBody>
      </p:sp>
    </p:spTree>
    <p:extLst>
      <p:ext uri="{BB962C8B-B14F-4D97-AF65-F5344CB8AC3E}">
        <p14:creationId xmlns:p14="http://schemas.microsoft.com/office/powerpoint/2010/main" val="16496279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CB73A-A610-4A32-A446-7B710A8605F6}"/>
              </a:ext>
            </a:extLst>
          </p:cNvPr>
          <p:cNvSpPr>
            <a:spLocks noGrp="1"/>
          </p:cNvSpPr>
          <p:nvPr>
            <p:ph type="title"/>
          </p:nvPr>
        </p:nvSpPr>
        <p:spPr/>
        <p:txBody>
          <a:bodyPr>
            <a:normAutofit/>
          </a:bodyPr>
          <a:lstStyle/>
          <a:p>
            <a:r>
              <a:rPr lang="fr-BE" sz="2750" dirty="0"/>
              <a:t>Section </a:t>
            </a:r>
            <a:r>
              <a:rPr lang="fr-BE" sz="2750" dirty="0" err="1"/>
              <a:t>Take-Aways</a:t>
            </a:r>
            <a:endParaRPr lang="fr-BE" sz="2750" dirty="0"/>
          </a:p>
        </p:txBody>
      </p:sp>
      <p:sp>
        <p:nvSpPr>
          <p:cNvPr id="4" name="Content Placeholder 3">
            <a:extLst>
              <a:ext uri="{FF2B5EF4-FFF2-40B4-BE49-F238E27FC236}">
                <a16:creationId xmlns:a16="http://schemas.microsoft.com/office/drawing/2014/main" id="{23F0A433-EF7F-4510-AD9B-93AD5EDD9241}"/>
              </a:ext>
            </a:extLst>
          </p:cNvPr>
          <p:cNvSpPr>
            <a:spLocks noGrp="1"/>
          </p:cNvSpPr>
          <p:nvPr>
            <p:ph idx="32"/>
          </p:nvPr>
        </p:nvSpPr>
        <p:spPr/>
        <p:txBody>
          <a:bodyPr/>
          <a:lstStyle/>
          <a:p>
            <a:pPr marL="514350" indent="-514350">
              <a:buClr>
                <a:srgbClr val="0070C0"/>
              </a:buClr>
              <a:buAutoNum type="arabicPeriod"/>
            </a:pPr>
            <a:r>
              <a:rPr lang="fr-BE" dirty="0"/>
              <a:t>Microsoft </a:t>
            </a:r>
            <a:r>
              <a:rPr lang="fr-BE" dirty="0" err="1"/>
              <a:t>offers</a:t>
            </a:r>
            <a:r>
              <a:rPr lang="fr-BE" dirty="0"/>
              <a:t> the Microsoft Cloud Adoption Framework, to assist in the end-to-end adoption of Azure public cloud</a:t>
            </a:r>
          </a:p>
          <a:p>
            <a:pPr marL="514350" indent="-514350">
              <a:buClr>
                <a:srgbClr val="0070C0"/>
              </a:buClr>
              <a:buAutoNum type="arabicPeriod"/>
            </a:pPr>
            <a:endParaRPr lang="fr-BE" dirty="0"/>
          </a:p>
          <a:p>
            <a:pPr marL="514350" indent="-514350">
              <a:buClr>
                <a:srgbClr val="0070C0"/>
              </a:buClr>
              <a:buAutoNum type="arabicPeriod"/>
            </a:pPr>
            <a:r>
              <a:rPr lang="fr-BE" dirty="0"/>
              <a:t>Azure Migrate </a:t>
            </a:r>
            <a:r>
              <a:rPr lang="fr-BE" dirty="0" err="1"/>
              <a:t>provides</a:t>
            </a:r>
            <a:r>
              <a:rPr lang="fr-BE" dirty="0"/>
              <a:t> the right </a:t>
            </a:r>
            <a:r>
              <a:rPr lang="fr-BE" dirty="0" err="1"/>
              <a:t>tools</a:t>
            </a:r>
            <a:r>
              <a:rPr lang="fr-BE" dirty="0"/>
              <a:t> to help </a:t>
            </a:r>
            <a:r>
              <a:rPr lang="fr-BE" dirty="0" err="1"/>
              <a:t>customers</a:t>
            </a:r>
            <a:r>
              <a:rPr lang="fr-BE" dirty="0"/>
              <a:t> </a:t>
            </a:r>
            <a:r>
              <a:rPr lang="fr-BE" dirty="0" err="1"/>
              <a:t>from</a:t>
            </a:r>
            <a:r>
              <a:rPr lang="fr-BE" dirty="0"/>
              <a:t> </a:t>
            </a:r>
            <a:r>
              <a:rPr lang="fr-BE" dirty="0" err="1"/>
              <a:t>assessment</a:t>
            </a:r>
            <a:r>
              <a:rPr lang="fr-BE" dirty="0"/>
              <a:t> to migration, </a:t>
            </a:r>
            <a:r>
              <a:rPr lang="fr-BE" dirty="0" err="1"/>
              <a:t>using</a:t>
            </a:r>
            <a:r>
              <a:rPr lang="fr-BE" dirty="0"/>
              <a:t> Microsoft </a:t>
            </a:r>
            <a:r>
              <a:rPr lang="fr-BE" dirty="0" err="1"/>
              <a:t>tools</a:t>
            </a:r>
            <a:r>
              <a:rPr lang="fr-BE" dirty="0"/>
              <a:t>, or </a:t>
            </a:r>
            <a:r>
              <a:rPr lang="fr-BE" dirty="0" err="1"/>
              <a:t>integrated</a:t>
            </a:r>
            <a:r>
              <a:rPr lang="fr-BE" dirty="0"/>
              <a:t> </a:t>
            </a:r>
            <a:r>
              <a:rPr lang="fr-BE" dirty="0" err="1"/>
              <a:t>with</a:t>
            </a:r>
            <a:r>
              <a:rPr lang="fr-BE" dirty="0"/>
              <a:t> 3rd party </a:t>
            </a:r>
            <a:r>
              <a:rPr lang="fr-BE" dirty="0" err="1"/>
              <a:t>tools</a:t>
            </a:r>
            <a:endParaRPr lang="fr-BE" dirty="0"/>
          </a:p>
          <a:p>
            <a:pPr marL="514350" indent="-514350">
              <a:buClr>
                <a:srgbClr val="0070C0"/>
              </a:buClr>
              <a:buAutoNum type="arabicPeriod"/>
            </a:pPr>
            <a:endParaRPr lang="fr-BE" dirty="0"/>
          </a:p>
          <a:p>
            <a:pPr marL="514350" indent="-514350">
              <a:buClr>
                <a:srgbClr val="0070C0"/>
              </a:buClr>
              <a:buAutoNum type="arabicPeriod"/>
            </a:pPr>
            <a:r>
              <a:rPr lang="fr-BE" dirty="0"/>
              <a:t>Azure Migrate = Virtual Machine </a:t>
            </a:r>
            <a:r>
              <a:rPr lang="fr-BE" dirty="0" err="1"/>
              <a:t>Assessment</a:t>
            </a:r>
            <a:r>
              <a:rPr lang="fr-BE" dirty="0"/>
              <a:t> + Migration</a:t>
            </a:r>
            <a:br>
              <a:rPr lang="fr-BE" dirty="0"/>
            </a:br>
            <a:r>
              <a:rPr lang="fr-BE" dirty="0"/>
              <a:t>Azure Migrate = (SQL) </a:t>
            </a:r>
            <a:r>
              <a:rPr lang="fr-BE" dirty="0" err="1"/>
              <a:t>Database</a:t>
            </a:r>
            <a:r>
              <a:rPr lang="fr-BE" dirty="0"/>
              <a:t> </a:t>
            </a:r>
            <a:r>
              <a:rPr lang="fr-BE" dirty="0" err="1"/>
              <a:t>Assessment</a:t>
            </a:r>
            <a:r>
              <a:rPr lang="fr-BE" dirty="0"/>
              <a:t> + Migration</a:t>
            </a:r>
            <a:br>
              <a:rPr lang="fr-BE" dirty="0"/>
            </a:br>
            <a:r>
              <a:rPr lang="fr-BE" dirty="0"/>
              <a:t>Azure Migrate = App Services </a:t>
            </a:r>
            <a:r>
              <a:rPr lang="fr-BE" dirty="0" err="1"/>
              <a:t>Assessment</a:t>
            </a:r>
            <a:r>
              <a:rPr lang="fr-BE" dirty="0"/>
              <a:t> + Migration</a:t>
            </a:r>
            <a:br>
              <a:rPr lang="fr-BE" dirty="0"/>
            </a:br>
            <a:endParaRPr lang="fr-BE" dirty="0"/>
          </a:p>
          <a:p>
            <a:pPr marL="514350" indent="-514350">
              <a:buClr>
                <a:srgbClr val="0070C0"/>
              </a:buClr>
              <a:buAutoNum type="arabicPeriod"/>
            </a:pPr>
            <a:endParaRPr lang="fr-BE" dirty="0"/>
          </a:p>
        </p:txBody>
      </p:sp>
    </p:spTree>
    <p:extLst>
      <p:ext uri="{BB962C8B-B14F-4D97-AF65-F5344CB8AC3E}">
        <p14:creationId xmlns:p14="http://schemas.microsoft.com/office/powerpoint/2010/main" val="32432907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58E3C98-11FC-4B2C-9118-32718AA34D15}"/>
              </a:ext>
            </a:extLst>
          </p:cNvPr>
          <p:cNvSpPr>
            <a:spLocks noGrp="1"/>
          </p:cNvSpPr>
          <p:nvPr>
            <p:ph type="body" sz="quarter" idx="29"/>
          </p:nvPr>
        </p:nvSpPr>
        <p:spPr/>
        <p:txBody>
          <a:bodyPr/>
          <a:lstStyle/>
          <a:p>
            <a:endParaRPr lang="en-US" dirty="0"/>
          </a:p>
          <a:p>
            <a:endParaRPr lang="en-US" dirty="0"/>
          </a:p>
          <a:p>
            <a:endParaRPr lang="en-US" dirty="0"/>
          </a:p>
          <a:p>
            <a:endParaRPr lang="en-US" dirty="0"/>
          </a:p>
          <a:p>
            <a:endParaRPr lang="en-US" dirty="0"/>
          </a:p>
          <a:p>
            <a:r>
              <a:rPr lang="en-US" sz="3200" dirty="0"/>
              <a:t>“…If you want good answers, ask better questions…”</a:t>
            </a:r>
          </a:p>
          <a:p>
            <a:endParaRPr lang="en-US" dirty="0"/>
          </a:p>
          <a:p>
            <a:pPr algn="r"/>
            <a:r>
              <a:rPr lang="en-US" dirty="0"/>
              <a:t>© Randy </a:t>
            </a:r>
            <a:r>
              <a:rPr lang="en-US" dirty="0" err="1"/>
              <a:t>Glasbergen</a:t>
            </a:r>
            <a:endParaRPr lang="en-US" dirty="0"/>
          </a:p>
        </p:txBody>
      </p:sp>
      <p:sp>
        <p:nvSpPr>
          <p:cNvPr id="6" name="Title 5">
            <a:extLst>
              <a:ext uri="{FF2B5EF4-FFF2-40B4-BE49-F238E27FC236}">
                <a16:creationId xmlns:a16="http://schemas.microsoft.com/office/drawing/2014/main" id="{25844F72-D263-45AB-838B-5F614A17AF04}"/>
              </a:ext>
            </a:extLst>
          </p:cNvPr>
          <p:cNvSpPr>
            <a:spLocks noGrp="1"/>
          </p:cNvSpPr>
          <p:nvPr>
            <p:ph type="title"/>
          </p:nvPr>
        </p:nvSpPr>
        <p:spPr/>
        <p:txBody>
          <a:bodyPr/>
          <a:lstStyle/>
          <a:p>
            <a:endParaRPr lang="en-US" dirty="0"/>
          </a:p>
        </p:txBody>
      </p:sp>
      <p:sp>
        <p:nvSpPr>
          <p:cNvPr id="12" name="Content Placeholder 11">
            <a:extLst>
              <a:ext uri="{FF2B5EF4-FFF2-40B4-BE49-F238E27FC236}">
                <a16:creationId xmlns:a16="http://schemas.microsoft.com/office/drawing/2014/main" id="{517F0335-0533-4B43-B268-205D51E520ED}"/>
              </a:ext>
            </a:extLst>
          </p:cNvPr>
          <p:cNvSpPr>
            <a:spLocks noGrp="1"/>
          </p:cNvSpPr>
          <p:nvPr>
            <p:ph idx="32"/>
          </p:nvPr>
        </p:nvSpPr>
        <p:spPr/>
        <p:txBody>
          <a:bodyPr/>
          <a:lstStyle/>
          <a:p>
            <a:pPr algn="ctr"/>
            <a:endParaRPr lang="en-US" dirty="0">
              <a:solidFill>
                <a:schemeClr val="tx2"/>
              </a:solidFill>
            </a:endParaRPr>
          </a:p>
          <a:p>
            <a:pPr algn="ctr"/>
            <a:endParaRPr lang="en-US" dirty="0">
              <a:solidFill>
                <a:schemeClr val="tx2"/>
              </a:solidFill>
            </a:endParaRPr>
          </a:p>
          <a:p>
            <a:pPr algn="ctr"/>
            <a:endParaRPr lang="en-US" dirty="0">
              <a:solidFill>
                <a:schemeClr val="tx2"/>
              </a:solidFill>
            </a:endParaRPr>
          </a:p>
          <a:p>
            <a:pPr algn="ctr"/>
            <a:r>
              <a:rPr lang="en-US" sz="4000" dirty="0">
                <a:solidFill>
                  <a:schemeClr val="tx2"/>
                </a:solidFill>
              </a:rPr>
              <a:t>Questions </a:t>
            </a:r>
          </a:p>
          <a:p>
            <a:pPr algn="ctr"/>
            <a:r>
              <a:rPr lang="en-US" sz="4000" dirty="0">
                <a:solidFill>
                  <a:schemeClr val="tx2"/>
                </a:solidFill>
              </a:rPr>
              <a:t>Landing </a:t>
            </a:r>
          </a:p>
          <a:p>
            <a:pPr algn="ctr"/>
            <a:r>
              <a:rPr lang="en-US" sz="4000" dirty="0">
                <a:solidFill>
                  <a:schemeClr val="tx2"/>
                </a:solidFill>
              </a:rPr>
              <a:t>Spot</a:t>
            </a:r>
          </a:p>
        </p:txBody>
      </p:sp>
    </p:spTree>
    <p:extLst>
      <p:ext uri="{BB962C8B-B14F-4D97-AF65-F5344CB8AC3E}">
        <p14:creationId xmlns:p14="http://schemas.microsoft.com/office/powerpoint/2010/main" val="34056042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022D7F-653A-494F-A715-E08A3E56C5B3}"/>
              </a:ext>
            </a:extLst>
          </p:cNvPr>
          <p:cNvSpPr>
            <a:spLocks noGrp="1"/>
          </p:cNvSpPr>
          <p:nvPr>
            <p:ph type="title"/>
          </p:nvPr>
        </p:nvSpPr>
        <p:spPr>
          <a:xfrm>
            <a:off x="457200" y="1025237"/>
            <a:ext cx="11277600" cy="1409700"/>
          </a:xfrm>
        </p:spPr>
        <p:txBody>
          <a:bodyPr/>
          <a:lstStyle/>
          <a:p>
            <a:r>
              <a:rPr lang="en-US" dirty="0">
                <a:solidFill>
                  <a:schemeClr val="tx2"/>
                </a:solidFill>
              </a:rPr>
              <a:t>Next Module…</a:t>
            </a:r>
          </a:p>
        </p:txBody>
      </p:sp>
      <p:sp>
        <p:nvSpPr>
          <p:cNvPr id="16" name="Text Placeholder 7">
            <a:extLst>
              <a:ext uri="{FF2B5EF4-FFF2-40B4-BE49-F238E27FC236}">
                <a16:creationId xmlns:a16="http://schemas.microsoft.com/office/drawing/2014/main" id="{7B1CAE0A-7EB4-40B6-A0D1-1CE4FF205FE2}"/>
              </a:ext>
            </a:extLst>
          </p:cNvPr>
          <p:cNvSpPr txBox="1">
            <a:spLocks/>
          </p:cNvSpPr>
          <p:nvPr/>
        </p:nvSpPr>
        <p:spPr>
          <a:xfrm>
            <a:off x="7761316" y="6025075"/>
            <a:ext cx="4430684" cy="318060"/>
          </a:xfrm>
          <a:prstGeom prst="rect">
            <a:avLst/>
          </a:prstGeom>
        </p:spPr>
        <p:txBody>
          <a:bodyPr vert="horz" lIns="0" tIns="0" rIns="91440" bIns="0" rtlCol="0" anchor="b" anchorCtr="0">
            <a:no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1800" b="0" i="0" kern="1200">
                <a:solidFill>
                  <a:schemeClr val="tx1"/>
                </a:solidFill>
                <a:effectLst/>
                <a:latin typeface="Segoe UI" charset="0"/>
                <a:ea typeface="Segoe UI" charset="0"/>
                <a:cs typeface="Segoe UI"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1200"/>
              </a:spcBef>
              <a:spcAft>
                <a:spcPts val="600"/>
              </a:spcAft>
              <a:buClr>
                <a:srgbClr val="414241"/>
              </a:buClr>
              <a:buSzPct val="120000"/>
              <a:buFontTx/>
              <a:buNone/>
              <a:tabLst/>
              <a:defRPr/>
            </a:pPr>
            <a:r>
              <a:rPr kumimoji="0" lang="en-US" sz="1800" b="0" i="0" u="none" strike="noStrike" kern="1200" cap="none" spc="0" normalizeH="0" baseline="0" noProof="0">
                <a:ln>
                  <a:noFill/>
                </a:ln>
                <a:solidFill>
                  <a:srgbClr val="FFFFFF"/>
                </a:solidFill>
                <a:effectLst/>
                <a:uLnTx/>
                <a:uFillTx/>
                <a:latin typeface="Segoe UI" charset="0"/>
                <a:cs typeface="Segoe UI" charset="0"/>
              </a:rPr>
              <a:t>@pdtit		@007FFFlearning</a:t>
            </a:r>
            <a:endParaRPr kumimoji="0" lang="en-US" sz="1800" b="0" i="0" u="none" strike="noStrike" kern="1200" cap="none" spc="0" normalizeH="0" baseline="0" noProof="0" dirty="0">
              <a:ln>
                <a:noFill/>
              </a:ln>
              <a:solidFill>
                <a:srgbClr val="FFFFFF"/>
              </a:solidFill>
              <a:effectLst/>
              <a:uLnTx/>
              <a:uFillTx/>
              <a:latin typeface="Segoe UI" charset="0"/>
              <a:cs typeface="Segoe UI" charset="0"/>
            </a:endParaRPr>
          </a:p>
        </p:txBody>
      </p:sp>
      <p:sp>
        <p:nvSpPr>
          <p:cNvPr id="5" name="Title 3">
            <a:extLst>
              <a:ext uri="{FF2B5EF4-FFF2-40B4-BE49-F238E27FC236}">
                <a16:creationId xmlns:a16="http://schemas.microsoft.com/office/drawing/2014/main" id="{94FF6427-3B79-4E7B-AAD7-5401A7BF243C}"/>
              </a:ext>
            </a:extLst>
          </p:cNvPr>
          <p:cNvSpPr txBox="1">
            <a:spLocks/>
          </p:cNvSpPr>
          <p:nvPr/>
        </p:nvSpPr>
        <p:spPr>
          <a:xfrm>
            <a:off x="457200" y="3044882"/>
            <a:ext cx="11277600" cy="1409700"/>
          </a:xfrm>
          <a:prstGeom prst="rect">
            <a:avLst/>
          </a:prstGeom>
        </p:spPr>
        <p:txBody>
          <a:bodyPr vert="horz" lIns="0" tIns="0" rIns="0" bIns="0" rtlCol="0" anchor="t" anchorCtr="0">
            <a:noAutofit/>
          </a:bodyPr>
          <a:lstStyle>
            <a:lvl1pPr marL="0" indent="0" algn="l" defTabSz="914132" rtl="0" eaLnBrk="1" latinLnBrk="0" hangingPunct="1">
              <a:lnSpc>
                <a:spcPct val="85000"/>
              </a:lnSpc>
              <a:spcBef>
                <a:spcPct val="0"/>
              </a:spcBef>
              <a:buFont typeface="Arial" charset="0"/>
              <a:buNone/>
              <a:defRPr lang="en-US" sz="6000" b="1" i="0" kern="1200" spc="-100" baseline="0">
                <a:solidFill>
                  <a:schemeClr val="accent2"/>
                </a:solidFill>
                <a:latin typeface="Segoe UI Semibold" charset="0"/>
                <a:ea typeface="Segoe UI Semibold" charset="0"/>
                <a:cs typeface="Segoe UI Semibold" charset="0"/>
              </a:defRPr>
            </a:lvl1pPr>
          </a:lstStyle>
          <a:p>
            <a:pPr marL="0" marR="0" lvl="0" indent="0" algn="l" defTabSz="914132" rtl="0" eaLnBrk="1" fontAlgn="auto" latinLnBrk="0" hangingPunct="1">
              <a:lnSpc>
                <a:spcPct val="85000"/>
              </a:lnSpc>
              <a:spcBef>
                <a:spcPct val="0"/>
              </a:spcBef>
              <a:spcAft>
                <a:spcPts val="0"/>
              </a:spcAft>
              <a:buClrTx/>
              <a:buSzTx/>
              <a:buFont typeface="Arial" charset="0"/>
              <a:buNone/>
              <a:tabLst/>
              <a:defRPr/>
            </a:pPr>
            <a:r>
              <a:rPr kumimoji="0" lang="en-US" sz="4000" b="1" i="0" u="none" strike="noStrike" kern="1200" cap="none" spc="-100" normalizeH="0" baseline="0" noProof="0" dirty="0">
                <a:ln>
                  <a:noFill/>
                </a:ln>
                <a:solidFill>
                  <a:srgbClr val="3C3C41"/>
                </a:solidFill>
                <a:effectLst/>
                <a:uLnTx/>
                <a:uFillTx/>
                <a:latin typeface="Segoe UI Semibold" charset="0"/>
                <a:cs typeface="Segoe UI Semibold" charset="0"/>
              </a:rPr>
              <a:t>Infrastructure as Code + VM Lift &amp; Shift Migration</a:t>
            </a:r>
          </a:p>
        </p:txBody>
      </p:sp>
      <p:sp>
        <p:nvSpPr>
          <p:cNvPr id="2" name="Arrow: Right 1">
            <a:extLst>
              <a:ext uri="{FF2B5EF4-FFF2-40B4-BE49-F238E27FC236}">
                <a16:creationId xmlns:a16="http://schemas.microsoft.com/office/drawing/2014/main" id="{0A3707D5-5102-4F66-B444-301AAB507987}"/>
              </a:ext>
            </a:extLst>
          </p:cNvPr>
          <p:cNvSpPr/>
          <p:nvPr/>
        </p:nvSpPr>
        <p:spPr>
          <a:xfrm>
            <a:off x="7949075" y="3624664"/>
            <a:ext cx="4055165" cy="1659835"/>
          </a:xfrm>
          <a:prstGeom prst="rightArrow">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srgbClr val="414241"/>
              </a:solidFill>
              <a:effectLst/>
              <a:uLnTx/>
              <a:uFillTx/>
              <a:latin typeface="Segoe UI"/>
              <a:ea typeface="+mn-ea"/>
              <a:cs typeface="+mn-cs"/>
            </a:endParaRPr>
          </a:p>
        </p:txBody>
      </p:sp>
    </p:spTree>
    <p:extLst>
      <p:ext uri="{BB962C8B-B14F-4D97-AF65-F5344CB8AC3E}">
        <p14:creationId xmlns:p14="http://schemas.microsoft.com/office/powerpoint/2010/main" val="2403237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45F54D1-5626-4242-87DF-4594984FA916}"/>
              </a:ext>
            </a:extLst>
          </p:cNvPr>
          <p:cNvSpPr txBox="1"/>
          <p:nvPr/>
        </p:nvSpPr>
        <p:spPr>
          <a:xfrm>
            <a:off x="1557670" y="1876647"/>
            <a:ext cx="8670851" cy="110799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Thank You</a:t>
            </a:r>
          </a:p>
        </p:txBody>
      </p:sp>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022D7F-653A-494F-A715-E08A3E56C5B3}"/>
              </a:ext>
            </a:extLst>
          </p:cNvPr>
          <p:cNvSpPr>
            <a:spLocks noGrp="1"/>
          </p:cNvSpPr>
          <p:nvPr>
            <p:ph type="title"/>
          </p:nvPr>
        </p:nvSpPr>
        <p:spPr/>
        <p:txBody>
          <a:bodyPr/>
          <a:lstStyle/>
          <a:p>
            <a:r>
              <a:rPr lang="en-US" dirty="0">
                <a:solidFill>
                  <a:schemeClr val="tx2"/>
                </a:solidFill>
              </a:rPr>
              <a:t>Application Migration</a:t>
            </a:r>
          </a:p>
        </p:txBody>
      </p:sp>
      <p:sp>
        <p:nvSpPr>
          <p:cNvPr id="6" name="Text Placeholder 5">
            <a:extLst>
              <a:ext uri="{FF2B5EF4-FFF2-40B4-BE49-F238E27FC236}">
                <a16:creationId xmlns:a16="http://schemas.microsoft.com/office/drawing/2014/main" id="{CB2DEB99-EE36-4674-B7A1-6DE5A0E98B70}"/>
              </a:ext>
            </a:extLst>
          </p:cNvPr>
          <p:cNvSpPr>
            <a:spLocks noGrp="1"/>
          </p:cNvSpPr>
          <p:nvPr>
            <p:ph type="body" idx="7"/>
          </p:nvPr>
        </p:nvSpPr>
        <p:spPr/>
        <p:txBody>
          <a:bodyPr/>
          <a:lstStyle/>
          <a:p>
            <a:r>
              <a:rPr lang="en-US" dirty="0">
                <a:solidFill>
                  <a:schemeClr val="tx2"/>
                </a:solidFill>
              </a:rPr>
              <a:t>Migrating an ASP.NET application to Azure using different Container services</a:t>
            </a:r>
          </a:p>
        </p:txBody>
      </p:sp>
      <p:sp>
        <p:nvSpPr>
          <p:cNvPr id="12" name="Text Placeholder 6">
            <a:extLst>
              <a:ext uri="{FF2B5EF4-FFF2-40B4-BE49-F238E27FC236}">
                <a16:creationId xmlns:a16="http://schemas.microsoft.com/office/drawing/2014/main" id="{EC223B0A-C8BB-40CA-97DA-6E941A6F83C1}"/>
              </a:ext>
            </a:extLst>
          </p:cNvPr>
          <p:cNvSpPr txBox="1">
            <a:spLocks/>
          </p:cNvSpPr>
          <p:nvPr/>
        </p:nvSpPr>
        <p:spPr>
          <a:xfrm>
            <a:off x="457200" y="6065443"/>
            <a:ext cx="3543300" cy="422162"/>
          </a:xfrm>
          <a:prstGeom prst="rect">
            <a:avLst/>
          </a:prstGeom>
        </p:spPr>
        <p:txBody>
          <a:bodyPr vert="horz" lIns="0" tIns="0" rIns="91440" bIns="0" rtlCol="0" anchor="b" anchorCtr="0">
            <a:no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000" b="1" i="0" kern="1200">
                <a:solidFill>
                  <a:schemeClr val="accent2"/>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1200"/>
              </a:spcBef>
              <a:spcAft>
                <a:spcPts val="600"/>
              </a:spcAft>
              <a:buClr>
                <a:srgbClr val="414241"/>
              </a:buClr>
              <a:buSzPct val="120000"/>
              <a:buFontTx/>
              <a:buNone/>
              <a:tabLst/>
              <a:defRPr/>
            </a:pPr>
            <a:r>
              <a:rPr kumimoji="0" lang="en-US" sz="2000" b="1" i="0" u="none" strike="noStrike" kern="1200" cap="none" spc="0" normalizeH="0" baseline="0" noProof="0" dirty="0">
                <a:ln>
                  <a:noFill/>
                </a:ln>
                <a:effectLst/>
                <a:uLnTx/>
                <a:uFillTx/>
                <a:latin typeface="Segoe UI Semibold" charset="0"/>
                <a:cs typeface="Segoe UI Semibold" charset="0"/>
              </a:rPr>
              <a:t>Peter De Tender</a:t>
            </a:r>
          </a:p>
        </p:txBody>
      </p:sp>
      <p:sp>
        <p:nvSpPr>
          <p:cNvPr id="15" name="Text Placeholder 12">
            <a:extLst>
              <a:ext uri="{FF2B5EF4-FFF2-40B4-BE49-F238E27FC236}">
                <a16:creationId xmlns:a16="http://schemas.microsoft.com/office/drawing/2014/main" id="{B3D1FF82-A888-4270-B8B6-9500DFDBA2A0}"/>
              </a:ext>
            </a:extLst>
          </p:cNvPr>
          <p:cNvSpPr txBox="1">
            <a:spLocks/>
          </p:cNvSpPr>
          <p:nvPr/>
        </p:nvSpPr>
        <p:spPr>
          <a:xfrm>
            <a:off x="4686301" y="6065946"/>
            <a:ext cx="4418906" cy="422162"/>
          </a:xfrm>
          <a:prstGeom prst="rect">
            <a:avLst/>
          </a:prstGeom>
        </p:spPr>
        <p:txBody>
          <a:bodyPr vert="horz" lIns="0" tIns="0" rIns="91440" bIns="0" rtlCol="0" anchor="b" anchorCtr="0">
            <a:no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000" b="1" i="0" kern="1200">
                <a:solidFill>
                  <a:schemeClr val="accent2"/>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1200"/>
              </a:spcBef>
              <a:spcAft>
                <a:spcPts val="600"/>
              </a:spcAft>
              <a:buClr>
                <a:srgbClr val="414241"/>
              </a:buClr>
              <a:buSzPct val="120000"/>
              <a:buFontTx/>
              <a:buNone/>
              <a:tabLst/>
              <a:defRPr/>
            </a:pPr>
            <a:r>
              <a:rPr kumimoji="0" lang="en-US" sz="2000" b="1" i="0" u="none" strike="noStrike" kern="1200" cap="none" spc="0" normalizeH="0" baseline="0" noProof="0">
                <a:ln>
                  <a:noFill/>
                </a:ln>
                <a:effectLst/>
                <a:uLnTx/>
                <a:uFillTx/>
                <a:latin typeface="Segoe UI Semibold" charset="0"/>
                <a:cs typeface="Segoe UI Semibold" charset="0"/>
              </a:rPr>
              <a:t>@pdtit		@007FFFLearning</a:t>
            </a:r>
            <a:endParaRPr kumimoji="0" lang="en-US" sz="2000" b="1" i="0" u="none" strike="noStrike" kern="1200" cap="none" spc="0" normalizeH="0" baseline="0" noProof="0" dirty="0">
              <a:ln>
                <a:noFill/>
              </a:ln>
              <a:effectLst/>
              <a:uLnTx/>
              <a:uFillTx/>
              <a:latin typeface="Segoe UI Semibold" charset="0"/>
              <a:cs typeface="Segoe UI Semibold" charset="0"/>
            </a:endParaRPr>
          </a:p>
        </p:txBody>
      </p:sp>
      <p:sp>
        <p:nvSpPr>
          <p:cNvPr id="16" name="Text Placeholder 2">
            <a:extLst>
              <a:ext uri="{FF2B5EF4-FFF2-40B4-BE49-F238E27FC236}">
                <a16:creationId xmlns:a16="http://schemas.microsoft.com/office/drawing/2014/main" id="{810A9475-EAAA-4687-B133-9B81718C4E2E}"/>
              </a:ext>
            </a:extLst>
          </p:cNvPr>
          <p:cNvSpPr txBox="1">
            <a:spLocks/>
          </p:cNvSpPr>
          <p:nvPr/>
        </p:nvSpPr>
        <p:spPr>
          <a:xfrm>
            <a:off x="10243421" y="6169545"/>
            <a:ext cx="2128688" cy="318060"/>
          </a:xfrm>
          <a:prstGeom prst="rect">
            <a:avLst/>
          </a:prstGeom>
        </p:spPr>
        <p:txBody>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000" b="1" i="0" kern="1200" dirty="0" smtClean="0">
                <a:solidFill>
                  <a:schemeClr val="accent2"/>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1200"/>
              </a:spcBef>
              <a:spcAft>
                <a:spcPts val="600"/>
              </a:spcAft>
              <a:buClr>
                <a:srgbClr val="414241"/>
              </a:buClr>
              <a:buSzPct val="120000"/>
              <a:buFontTx/>
              <a:buNone/>
              <a:tabLst/>
              <a:defRPr/>
            </a:pPr>
            <a:r>
              <a:rPr kumimoji="0" lang="fr-BE" sz="2000" b="1" i="0" u="none" strike="noStrike" kern="1200" cap="none" spc="0" normalizeH="0" baseline="0" noProof="0" dirty="0" err="1">
                <a:ln>
                  <a:noFill/>
                </a:ln>
                <a:effectLst/>
                <a:uLnTx/>
                <a:uFillTx/>
                <a:latin typeface="Segoe UI Semibold" charset="0"/>
                <a:cs typeface="Segoe UI Semibold" charset="0"/>
              </a:rPr>
              <a:t>Aug</a:t>
            </a:r>
            <a:r>
              <a:rPr kumimoji="0" lang="fr-BE" sz="2000" b="1" i="0" u="none" strike="noStrike" kern="1200" cap="none" spc="0" normalizeH="0" baseline="0" noProof="0" dirty="0">
                <a:ln>
                  <a:noFill/>
                </a:ln>
                <a:effectLst/>
                <a:uLnTx/>
                <a:uFillTx/>
                <a:latin typeface="Segoe UI Semibold" charset="0"/>
                <a:cs typeface="Segoe UI Semibold" charset="0"/>
              </a:rPr>
              <a:t> 2019</a:t>
            </a:r>
          </a:p>
        </p:txBody>
      </p:sp>
    </p:spTree>
    <p:extLst>
      <p:ext uri="{BB962C8B-B14F-4D97-AF65-F5344CB8AC3E}">
        <p14:creationId xmlns:p14="http://schemas.microsoft.com/office/powerpoint/2010/main" val="3949473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7899278-BD67-4AAC-9874-65FAF4AED117}"/>
              </a:ext>
            </a:extLst>
          </p:cNvPr>
          <p:cNvSpPr>
            <a:spLocks noGrp="1"/>
          </p:cNvSpPr>
          <p:nvPr>
            <p:ph type="title"/>
          </p:nvPr>
        </p:nvSpPr>
        <p:spPr/>
        <p:txBody>
          <a:bodyPr/>
          <a:lstStyle/>
          <a:p>
            <a:r>
              <a:rPr lang="en-US" dirty="0"/>
              <a:t>Azure Assessments</a:t>
            </a:r>
          </a:p>
        </p:txBody>
      </p:sp>
      <p:sp>
        <p:nvSpPr>
          <p:cNvPr id="14" name="Text Placeholder 13">
            <a:extLst>
              <a:ext uri="{FF2B5EF4-FFF2-40B4-BE49-F238E27FC236}">
                <a16:creationId xmlns:a16="http://schemas.microsoft.com/office/drawing/2014/main" id="{8B004072-1B0B-4387-9E77-76A61E081B56}"/>
              </a:ext>
            </a:extLst>
          </p:cNvPr>
          <p:cNvSpPr>
            <a:spLocks noGrp="1"/>
          </p:cNvSpPr>
          <p:nvPr>
            <p:ph type="body" idx="7"/>
          </p:nvPr>
        </p:nvSpPr>
        <p:spPr/>
        <p:txBody>
          <a:bodyPr/>
          <a:lstStyle/>
          <a:p>
            <a:r>
              <a:rPr lang="en-US" dirty="0">
                <a:solidFill>
                  <a:schemeClr val="tx2"/>
                </a:solidFill>
              </a:rPr>
              <a:t>Knowing what to migrate, without surprises! </a:t>
            </a:r>
          </a:p>
        </p:txBody>
      </p:sp>
    </p:spTree>
    <p:extLst>
      <p:ext uri="{BB962C8B-B14F-4D97-AF65-F5344CB8AC3E}">
        <p14:creationId xmlns:p14="http://schemas.microsoft.com/office/powerpoint/2010/main" val="190629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D0C95-80BE-41C2-903E-923ED02D9F45}"/>
              </a:ext>
            </a:extLst>
          </p:cNvPr>
          <p:cNvSpPr>
            <a:spLocks noGrp="1"/>
          </p:cNvSpPr>
          <p:nvPr>
            <p:ph type="title"/>
          </p:nvPr>
        </p:nvSpPr>
        <p:spPr>
          <a:xfrm>
            <a:off x="588263" y="457200"/>
            <a:ext cx="11018520" cy="423193"/>
          </a:xfrm>
        </p:spPr>
        <p:txBody>
          <a:bodyPr/>
          <a:lstStyle/>
          <a:p>
            <a:r>
              <a:rPr lang="en-US" sz="2750" dirty="0"/>
              <a:t>What do customers want to migrate to the Cloud?</a:t>
            </a:r>
            <a:endParaRPr lang="en-IN" sz="2750" dirty="0"/>
          </a:p>
        </p:txBody>
      </p:sp>
      <p:sp>
        <p:nvSpPr>
          <p:cNvPr id="6" name="Rectangle 5">
            <a:extLst>
              <a:ext uri="{FF2B5EF4-FFF2-40B4-BE49-F238E27FC236}">
                <a16:creationId xmlns:a16="http://schemas.microsoft.com/office/drawing/2014/main" id="{56451B3A-8C34-4852-BDB5-89FB85314331}"/>
              </a:ext>
            </a:extLst>
          </p:cNvPr>
          <p:cNvSpPr/>
          <p:nvPr/>
        </p:nvSpPr>
        <p:spPr bwMode="auto">
          <a:xfrm>
            <a:off x="1234127" y="3424385"/>
            <a:ext cx="9723748" cy="338168"/>
          </a:xfrm>
          <a:custGeom>
            <a:avLst/>
            <a:gdLst>
              <a:gd name="connsiteX0" fmla="*/ 0 w 9918729"/>
              <a:gd name="connsiteY0" fmla="*/ 0 h 2113846"/>
              <a:gd name="connsiteX1" fmla="*/ 9918729 w 9918729"/>
              <a:gd name="connsiteY1" fmla="*/ 0 h 2113846"/>
              <a:gd name="connsiteX2" fmla="*/ 9918729 w 9918729"/>
              <a:gd name="connsiteY2" fmla="*/ 2113846 h 2113846"/>
              <a:gd name="connsiteX3" fmla="*/ 0 w 9918729"/>
              <a:gd name="connsiteY3" fmla="*/ 2113846 h 2113846"/>
              <a:gd name="connsiteX4" fmla="*/ 0 w 9918729"/>
              <a:gd name="connsiteY4" fmla="*/ 0 h 2113846"/>
              <a:gd name="connsiteX0" fmla="*/ 0 w 9918729"/>
              <a:gd name="connsiteY0" fmla="*/ 11698 h 2125544"/>
              <a:gd name="connsiteX1" fmla="*/ 5088091 w 9918729"/>
              <a:gd name="connsiteY1" fmla="*/ 0 h 2125544"/>
              <a:gd name="connsiteX2" fmla="*/ 9918729 w 9918729"/>
              <a:gd name="connsiteY2" fmla="*/ 11698 h 2125544"/>
              <a:gd name="connsiteX3" fmla="*/ 9918729 w 9918729"/>
              <a:gd name="connsiteY3" fmla="*/ 2125544 h 2125544"/>
              <a:gd name="connsiteX4" fmla="*/ 0 w 9918729"/>
              <a:gd name="connsiteY4" fmla="*/ 2125544 h 2125544"/>
              <a:gd name="connsiteX5" fmla="*/ 0 w 9918729"/>
              <a:gd name="connsiteY5" fmla="*/ 11698 h 2125544"/>
              <a:gd name="connsiteX0" fmla="*/ 5088091 w 9918729"/>
              <a:gd name="connsiteY0" fmla="*/ 0 h 2125544"/>
              <a:gd name="connsiteX1" fmla="*/ 9918729 w 9918729"/>
              <a:gd name="connsiteY1" fmla="*/ 11698 h 2125544"/>
              <a:gd name="connsiteX2" fmla="*/ 9918729 w 9918729"/>
              <a:gd name="connsiteY2" fmla="*/ 2125544 h 2125544"/>
              <a:gd name="connsiteX3" fmla="*/ 0 w 9918729"/>
              <a:gd name="connsiteY3" fmla="*/ 2125544 h 2125544"/>
              <a:gd name="connsiteX4" fmla="*/ 0 w 9918729"/>
              <a:gd name="connsiteY4" fmla="*/ 11698 h 2125544"/>
              <a:gd name="connsiteX5" fmla="*/ 5179531 w 9918729"/>
              <a:gd name="connsiteY5" fmla="*/ 91440 h 2125544"/>
              <a:gd name="connsiteX0" fmla="*/ 5088091 w 9918729"/>
              <a:gd name="connsiteY0" fmla="*/ 0 h 2125544"/>
              <a:gd name="connsiteX1" fmla="*/ 9918729 w 9918729"/>
              <a:gd name="connsiteY1" fmla="*/ 11698 h 2125544"/>
              <a:gd name="connsiteX2" fmla="*/ 9918729 w 9918729"/>
              <a:gd name="connsiteY2" fmla="*/ 2125544 h 2125544"/>
              <a:gd name="connsiteX3" fmla="*/ 0 w 9918729"/>
              <a:gd name="connsiteY3" fmla="*/ 2125544 h 2125544"/>
              <a:gd name="connsiteX4" fmla="*/ 0 w 9918729"/>
              <a:gd name="connsiteY4" fmla="*/ 11698 h 2125544"/>
              <a:gd name="connsiteX0" fmla="*/ 9918729 w 9918729"/>
              <a:gd name="connsiteY0" fmla="*/ 0 h 2113846"/>
              <a:gd name="connsiteX1" fmla="*/ 9918729 w 9918729"/>
              <a:gd name="connsiteY1" fmla="*/ 2113846 h 2113846"/>
              <a:gd name="connsiteX2" fmla="*/ 0 w 9918729"/>
              <a:gd name="connsiteY2" fmla="*/ 2113846 h 2113846"/>
              <a:gd name="connsiteX3" fmla="*/ 0 w 9918729"/>
              <a:gd name="connsiteY3" fmla="*/ 0 h 2113846"/>
            </a:gdLst>
            <a:ahLst/>
            <a:cxnLst>
              <a:cxn ang="0">
                <a:pos x="connsiteX0" y="connsiteY0"/>
              </a:cxn>
              <a:cxn ang="0">
                <a:pos x="connsiteX1" y="connsiteY1"/>
              </a:cxn>
              <a:cxn ang="0">
                <a:pos x="connsiteX2" y="connsiteY2"/>
              </a:cxn>
              <a:cxn ang="0">
                <a:pos x="connsiteX3" y="connsiteY3"/>
              </a:cxn>
            </a:cxnLst>
            <a:rect l="l" t="t" r="r" b="b"/>
            <a:pathLst>
              <a:path w="9918729" h="2113846">
                <a:moveTo>
                  <a:pt x="9918729" y="0"/>
                </a:moveTo>
                <a:lnTo>
                  <a:pt x="9918729" y="2113846"/>
                </a:lnTo>
                <a:lnTo>
                  <a:pt x="0" y="2113846"/>
                </a:lnTo>
                <a:lnTo>
                  <a:pt x="0" y="0"/>
                </a:lnTo>
              </a:path>
            </a:pathLst>
          </a:custGeom>
          <a:noFill/>
          <a:ln w="285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30" b="1" i="0" u="none" strike="noStrike" kern="1200" cap="none" spc="0" normalizeH="0" baseline="0" noProof="0">
              <a:ln>
                <a:noFill/>
              </a:ln>
              <a:solidFill>
                <a:srgbClr val="0D0D0D"/>
              </a:soli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640E129E-7187-4A47-8DA0-7BE1CA6CCF54}"/>
              </a:ext>
            </a:extLst>
          </p:cNvPr>
          <p:cNvCxnSpPr>
            <a:cxnSpLocks/>
          </p:cNvCxnSpPr>
          <p:nvPr/>
        </p:nvCxnSpPr>
        <p:spPr>
          <a:xfrm>
            <a:off x="6096000" y="3762304"/>
            <a:ext cx="0" cy="1167545"/>
          </a:xfrm>
          <a:prstGeom prst="line">
            <a:avLst/>
          </a:prstGeom>
          <a:ln w="28575">
            <a:solidFill>
              <a:srgbClr val="0070C0"/>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2E829693-C6A8-4BAB-95A4-EF8F0B0C2669}"/>
              </a:ext>
            </a:extLst>
          </p:cNvPr>
          <p:cNvSpPr/>
          <p:nvPr/>
        </p:nvSpPr>
        <p:spPr bwMode="auto">
          <a:xfrm>
            <a:off x="5593491" y="5117840"/>
            <a:ext cx="1005020" cy="1005019"/>
          </a:xfrm>
          <a:prstGeom prst="ellipse">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30" b="1" i="0" u="none" strike="noStrike" kern="1200" cap="none" spc="0" normalizeH="0" baseline="0" noProof="0">
              <a:ln>
                <a:noFill/>
              </a:ln>
              <a:solidFill>
                <a:srgbClr val="0D0D0D"/>
              </a:soli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98E2A94C-6E94-4034-9B2D-07D486F2052E}"/>
              </a:ext>
            </a:extLst>
          </p:cNvPr>
          <p:cNvSpPr txBox="1"/>
          <p:nvPr/>
        </p:nvSpPr>
        <p:spPr>
          <a:xfrm>
            <a:off x="5788429" y="6285137"/>
            <a:ext cx="615144" cy="239617"/>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30" b="1" i="0" u="none" strike="noStrike" kern="1200" cap="none" spc="0" normalizeH="0" baseline="0" noProof="0">
                <a:ln>
                  <a:noFill/>
                </a:ln>
                <a:solidFill>
                  <a:srgbClr val="0D0D0D"/>
                </a:solidFill>
                <a:effectLst/>
                <a:uLnTx/>
                <a:uFillTx/>
                <a:latin typeface="Segoe UI"/>
                <a:ea typeface="+mn-ea"/>
                <a:cs typeface="+mn-cs"/>
              </a:rPr>
              <a:t>Azure</a:t>
            </a:r>
          </a:p>
        </p:txBody>
      </p:sp>
      <p:sp>
        <p:nvSpPr>
          <p:cNvPr id="16" name="Oval 15">
            <a:extLst>
              <a:ext uri="{FF2B5EF4-FFF2-40B4-BE49-F238E27FC236}">
                <a16:creationId xmlns:a16="http://schemas.microsoft.com/office/drawing/2014/main" id="{856C8F36-5831-4AF6-984E-2365C806612A}"/>
              </a:ext>
            </a:extLst>
          </p:cNvPr>
          <p:cNvSpPr/>
          <p:nvPr/>
        </p:nvSpPr>
        <p:spPr bwMode="auto">
          <a:xfrm>
            <a:off x="1728580" y="1856522"/>
            <a:ext cx="1020521" cy="1020521"/>
          </a:xfrm>
          <a:prstGeom prst="ellipse">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30" b="1" i="0" u="none" strike="noStrike" kern="1200" cap="none" spc="0" normalizeH="0" baseline="0" noProof="0">
              <a:ln>
                <a:noFill/>
              </a:ln>
              <a:solidFill>
                <a:srgbClr val="0D0D0D"/>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A18806BE-19A8-46EA-B7A0-B722F9D286B8}"/>
              </a:ext>
            </a:extLst>
          </p:cNvPr>
          <p:cNvSpPr/>
          <p:nvPr/>
        </p:nvSpPr>
        <p:spPr bwMode="auto">
          <a:xfrm>
            <a:off x="9605284" y="1856522"/>
            <a:ext cx="1020521" cy="1020521"/>
          </a:xfrm>
          <a:prstGeom prst="ellipse">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30" b="1" i="0" u="none" strike="noStrike" kern="1200" cap="none" spc="0" normalizeH="0" baseline="0" noProof="0">
              <a:ln>
                <a:noFill/>
              </a:ln>
              <a:solidFill>
                <a:srgbClr val="0D0D0D"/>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AFE8D7CE-A5CB-41DA-8E43-EA29FBD9B857}"/>
              </a:ext>
            </a:extLst>
          </p:cNvPr>
          <p:cNvSpPr/>
          <p:nvPr/>
        </p:nvSpPr>
        <p:spPr bwMode="auto">
          <a:xfrm>
            <a:off x="4354147" y="1856522"/>
            <a:ext cx="1020521" cy="1020521"/>
          </a:xfrm>
          <a:prstGeom prst="ellipse">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30" b="1" i="0" u="none" strike="noStrike" kern="1200" cap="none" spc="0" normalizeH="0" baseline="0" noProof="0">
              <a:ln>
                <a:noFill/>
              </a:ln>
              <a:solidFill>
                <a:srgbClr val="0D0D0D"/>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A93DD350-DF54-40E9-BE02-F1E19BC979A4}"/>
              </a:ext>
            </a:extLst>
          </p:cNvPr>
          <p:cNvSpPr/>
          <p:nvPr/>
        </p:nvSpPr>
        <p:spPr bwMode="auto">
          <a:xfrm>
            <a:off x="6979715" y="1856522"/>
            <a:ext cx="1020521" cy="1020521"/>
          </a:xfrm>
          <a:prstGeom prst="ellipse">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30" b="1" i="0" u="none" strike="noStrike" kern="1200" cap="none" spc="0" normalizeH="0" baseline="0" noProof="0">
              <a:ln>
                <a:noFill/>
              </a:ln>
              <a:solidFill>
                <a:srgbClr val="0D0D0D"/>
              </a:soli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35DF4295-7627-423F-BA5B-4A352BDD7BA8}"/>
              </a:ext>
            </a:extLst>
          </p:cNvPr>
          <p:cNvSpPr txBox="1"/>
          <p:nvPr/>
        </p:nvSpPr>
        <p:spPr>
          <a:xfrm>
            <a:off x="1343750" y="3024771"/>
            <a:ext cx="1790179" cy="239617"/>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30" b="1" i="0" u="none" strike="noStrike" kern="1200" cap="none" spc="0" normalizeH="0" baseline="0" noProof="0" dirty="0">
                <a:ln>
                  <a:noFill/>
                </a:ln>
                <a:solidFill>
                  <a:srgbClr val="0D0D0D"/>
                </a:solidFill>
                <a:effectLst/>
                <a:uLnTx/>
                <a:uFillTx/>
                <a:latin typeface="Segoe UI"/>
                <a:ea typeface="+mn-ea"/>
                <a:cs typeface="+mn-cs"/>
              </a:rPr>
              <a:t>Virtual Machines</a:t>
            </a:r>
          </a:p>
        </p:txBody>
      </p:sp>
      <p:sp>
        <p:nvSpPr>
          <p:cNvPr id="27" name="TextBox 26">
            <a:extLst>
              <a:ext uri="{FF2B5EF4-FFF2-40B4-BE49-F238E27FC236}">
                <a16:creationId xmlns:a16="http://schemas.microsoft.com/office/drawing/2014/main" id="{036B8111-B3D5-45B5-B307-83D69AD9923A}"/>
              </a:ext>
            </a:extLst>
          </p:cNvPr>
          <p:cNvSpPr txBox="1"/>
          <p:nvPr/>
        </p:nvSpPr>
        <p:spPr>
          <a:xfrm>
            <a:off x="9453946" y="3024771"/>
            <a:ext cx="1323195" cy="239617"/>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30" b="1" i="0" u="none" strike="noStrike" kern="1200" cap="none" spc="0" normalizeH="0" baseline="0" noProof="0">
                <a:ln>
                  <a:noFill/>
                </a:ln>
                <a:solidFill>
                  <a:srgbClr val="0D0D0D"/>
                </a:solidFill>
                <a:effectLst/>
                <a:uLnTx/>
                <a:uFillTx/>
                <a:latin typeface="Segoe UI"/>
                <a:ea typeface="+mn-ea"/>
                <a:cs typeface="+mn-cs"/>
              </a:rPr>
              <a:t>Applications</a:t>
            </a:r>
          </a:p>
        </p:txBody>
      </p:sp>
      <p:sp>
        <p:nvSpPr>
          <p:cNvPr id="28" name="TextBox 27">
            <a:extLst>
              <a:ext uri="{FF2B5EF4-FFF2-40B4-BE49-F238E27FC236}">
                <a16:creationId xmlns:a16="http://schemas.microsoft.com/office/drawing/2014/main" id="{5D916113-8D12-47DF-8AF5-1B9D5D12D47E}"/>
              </a:ext>
            </a:extLst>
          </p:cNvPr>
          <p:cNvSpPr txBox="1"/>
          <p:nvPr/>
        </p:nvSpPr>
        <p:spPr>
          <a:xfrm>
            <a:off x="4354147" y="3024771"/>
            <a:ext cx="1075843" cy="239617"/>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30" b="1" i="0" u="none" strike="noStrike" kern="1200" cap="none" spc="0" normalizeH="0" baseline="0" noProof="0" dirty="0">
                <a:ln>
                  <a:noFill/>
                </a:ln>
                <a:solidFill>
                  <a:srgbClr val="0D0D0D"/>
                </a:solidFill>
                <a:effectLst/>
                <a:uLnTx/>
                <a:uFillTx/>
                <a:latin typeface="Segoe UI"/>
                <a:ea typeface="+mn-ea"/>
                <a:cs typeface="+mn-cs"/>
              </a:rPr>
              <a:t>Databases</a:t>
            </a:r>
          </a:p>
        </p:txBody>
      </p:sp>
      <p:sp>
        <p:nvSpPr>
          <p:cNvPr id="29" name="TextBox 28">
            <a:extLst>
              <a:ext uri="{FF2B5EF4-FFF2-40B4-BE49-F238E27FC236}">
                <a16:creationId xmlns:a16="http://schemas.microsoft.com/office/drawing/2014/main" id="{B7D7DE15-4595-4680-AD3F-17C33D3B3517}"/>
              </a:ext>
            </a:extLst>
          </p:cNvPr>
          <p:cNvSpPr txBox="1"/>
          <p:nvPr/>
        </p:nvSpPr>
        <p:spPr>
          <a:xfrm>
            <a:off x="7241680" y="3024771"/>
            <a:ext cx="496591" cy="239617"/>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30" b="1" i="0" u="none" strike="noStrike" kern="1200" cap="none" spc="0" normalizeH="0" baseline="0" noProof="0">
                <a:ln>
                  <a:noFill/>
                </a:ln>
                <a:solidFill>
                  <a:srgbClr val="0D0D0D"/>
                </a:solidFill>
                <a:effectLst/>
                <a:uLnTx/>
                <a:uFillTx/>
                <a:latin typeface="Segoe UI"/>
                <a:ea typeface="+mn-ea"/>
                <a:cs typeface="+mn-cs"/>
              </a:rPr>
              <a:t>Data</a:t>
            </a:r>
          </a:p>
        </p:txBody>
      </p:sp>
      <p:sp>
        <p:nvSpPr>
          <p:cNvPr id="30" name="Freeform 154">
            <a:extLst>
              <a:ext uri="{FF2B5EF4-FFF2-40B4-BE49-F238E27FC236}">
                <a16:creationId xmlns:a16="http://schemas.microsoft.com/office/drawing/2014/main" id="{FD9B2BC7-FB51-4522-A60F-5FBA91C69462}"/>
              </a:ext>
            </a:extLst>
          </p:cNvPr>
          <p:cNvSpPr/>
          <p:nvPr/>
        </p:nvSpPr>
        <p:spPr>
          <a:xfrm flipH="1">
            <a:off x="4630234" y="2111817"/>
            <a:ext cx="407428" cy="509929"/>
          </a:xfrm>
          <a:custGeom>
            <a:avLst/>
            <a:gdLst/>
            <a:ahLst/>
            <a:cxnLst/>
            <a:rect l="l" t="t" r="r" b="b"/>
            <a:pathLst>
              <a:path w="873263" h="1092960">
                <a:moveTo>
                  <a:pt x="606951" y="954134"/>
                </a:moveTo>
                <a:cubicBezTo>
                  <a:pt x="589324" y="955714"/>
                  <a:pt x="576080" y="968665"/>
                  <a:pt x="577370" y="983063"/>
                </a:cubicBezTo>
                <a:cubicBezTo>
                  <a:pt x="578660" y="997462"/>
                  <a:pt x="593995" y="1007853"/>
                  <a:pt x="611622" y="1006274"/>
                </a:cubicBezTo>
                <a:cubicBezTo>
                  <a:pt x="629249" y="1004694"/>
                  <a:pt x="642492" y="991742"/>
                  <a:pt x="641203" y="977344"/>
                </a:cubicBezTo>
                <a:cubicBezTo>
                  <a:pt x="639912" y="962946"/>
                  <a:pt x="624577" y="952555"/>
                  <a:pt x="606951" y="954134"/>
                </a:cubicBezTo>
                <a:close/>
                <a:moveTo>
                  <a:pt x="609457" y="951888"/>
                </a:moveTo>
                <a:cubicBezTo>
                  <a:pt x="629614" y="950082"/>
                  <a:pt x="647082" y="961187"/>
                  <a:pt x="648471" y="976693"/>
                </a:cubicBezTo>
                <a:cubicBezTo>
                  <a:pt x="649860" y="992198"/>
                  <a:pt x="634645" y="1006232"/>
                  <a:pt x="614487" y="1008039"/>
                </a:cubicBezTo>
                <a:cubicBezTo>
                  <a:pt x="594330" y="1009844"/>
                  <a:pt x="576863" y="998739"/>
                  <a:pt x="575474" y="983233"/>
                </a:cubicBezTo>
                <a:cubicBezTo>
                  <a:pt x="574085" y="967728"/>
                  <a:pt x="589299" y="953694"/>
                  <a:pt x="609457" y="951888"/>
                </a:cubicBezTo>
                <a:close/>
                <a:moveTo>
                  <a:pt x="546650" y="720143"/>
                </a:moveTo>
                <a:lnTo>
                  <a:pt x="554616" y="1056316"/>
                </a:lnTo>
                <a:lnTo>
                  <a:pt x="709160" y="1035604"/>
                </a:lnTo>
                <a:lnTo>
                  <a:pt x="546650" y="1067468"/>
                </a:lnTo>
                <a:close/>
                <a:moveTo>
                  <a:pt x="856069" y="654610"/>
                </a:moveTo>
                <a:lnTo>
                  <a:pt x="856069" y="1009011"/>
                </a:lnTo>
                <a:lnTo>
                  <a:pt x="855500" y="1009120"/>
                </a:lnTo>
                <a:lnTo>
                  <a:pt x="836619" y="677126"/>
                </a:lnTo>
                <a:lnTo>
                  <a:pt x="543800" y="697592"/>
                </a:lnTo>
                <a:lnTo>
                  <a:pt x="543800" y="674437"/>
                </a:lnTo>
                <a:close/>
                <a:moveTo>
                  <a:pt x="840232" y="576957"/>
                </a:moveTo>
                <a:lnTo>
                  <a:pt x="542217" y="578953"/>
                </a:lnTo>
                <a:lnTo>
                  <a:pt x="542217" y="644992"/>
                </a:lnTo>
                <a:lnTo>
                  <a:pt x="841118" y="631596"/>
                </a:lnTo>
                <a:cubicBezTo>
                  <a:pt x="841118" y="612204"/>
                  <a:pt x="840232" y="596349"/>
                  <a:pt x="840232" y="576957"/>
                </a:cubicBezTo>
                <a:close/>
                <a:moveTo>
                  <a:pt x="853592" y="562912"/>
                </a:moveTo>
                <a:cubicBezTo>
                  <a:pt x="851940" y="586043"/>
                  <a:pt x="852765" y="609175"/>
                  <a:pt x="853592" y="632305"/>
                </a:cubicBezTo>
                <a:lnTo>
                  <a:pt x="541322" y="647174"/>
                </a:lnTo>
                <a:lnTo>
                  <a:pt x="541322" y="567868"/>
                </a:lnTo>
                <a:close/>
                <a:moveTo>
                  <a:pt x="213979" y="545238"/>
                </a:moveTo>
                <a:cubicBezTo>
                  <a:pt x="239284" y="545238"/>
                  <a:pt x="259797" y="565716"/>
                  <a:pt x="259797" y="590977"/>
                </a:cubicBezTo>
                <a:cubicBezTo>
                  <a:pt x="259797" y="616238"/>
                  <a:pt x="239284" y="636716"/>
                  <a:pt x="213979" y="636716"/>
                </a:cubicBezTo>
                <a:cubicBezTo>
                  <a:pt x="188675" y="636716"/>
                  <a:pt x="168161" y="616238"/>
                  <a:pt x="168161" y="590977"/>
                </a:cubicBezTo>
                <a:cubicBezTo>
                  <a:pt x="168161" y="565716"/>
                  <a:pt x="188675" y="545238"/>
                  <a:pt x="213979" y="545238"/>
                </a:cubicBezTo>
                <a:close/>
                <a:moveTo>
                  <a:pt x="213979" y="499500"/>
                </a:moveTo>
                <a:cubicBezTo>
                  <a:pt x="163370" y="499500"/>
                  <a:pt x="122343" y="540455"/>
                  <a:pt x="122343" y="590977"/>
                </a:cubicBezTo>
                <a:cubicBezTo>
                  <a:pt x="122343" y="641499"/>
                  <a:pt x="163370" y="682454"/>
                  <a:pt x="213979" y="682454"/>
                </a:cubicBezTo>
                <a:cubicBezTo>
                  <a:pt x="264589" y="682454"/>
                  <a:pt x="305615" y="641499"/>
                  <a:pt x="305615" y="590977"/>
                </a:cubicBezTo>
                <a:cubicBezTo>
                  <a:pt x="305615" y="540455"/>
                  <a:pt x="264589" y="499500"/>
                  <a:pt x="213979" y="499500"/>
                </a:cubicBezTo>
                <a:close/>
                <a:moveTo>
                  <a:pt x="542217" y="471950"/>
                </a:moveTo>
                <a:lnTo>
                  <a:pt x="542217" y="537989"/>
                </a:lnTo>
                <a:lnTo>
                  <a:pt x="841118" y="534321"/>
                </a:lnTo>
                <a:cubicBezTo>
                  <a:pt x="841118" y="514929"/>
                  <a:pt x="841117" y="495537"/>
                  <a:pt x="841117" y="476145"/>
                </a:cubicBezTo>
                <a:close/>
                <a:moveTo>
                  <a:pt x="213979" y="463503"/>
                </a:moveTo>
                <a:cubicBezTo>
                  <a:pt x="284503" y="463503"/>
                  <a:pt x="341674" y="520575"/>
                  <a:pt x="341674" y="590977"/>
                </a:cubicBezTo>
                <a:cubicBezTo>
                  <a:pt x="341674" y="661379"/>
                  <a:pt x="284503" y="718450"/>
                  <a:pt x="213979" y="718450"/>
                </a:cubicBezTo>
                <a:cubicBezTo>
                  <a:pt x="143456" y="718450"/>
                  <a:pt x="86285" y="661379"/>
                  <a:pt x="86285" y="590977"/>
                </a:cubicBezTo>
                <a:cubicBezTo>
                  <a:pt x="86285" y="520575"/>
                  <a:pt x="143456" y="463503"/>
                  <a:pt x="213979" y="463503"/>
                </a:cubicBezTo>
                <a:close/>
                <a:moveTo>
                  <a:pt x="541322" y="458821"/>
                </a:moveTo>
                <a:lnTo>
                  <a:pt x="853592" y="461300"/>
                </a:lnTo>
                <a:cubicBezTo>
                  <a:pt x="851940" y="484431"/>
                  <a:pt x="852765" y="513376"/>
                  <a:pt x="853592" y="536506"/>
                </a:cubicBezTo>
                <a:lnTo>
                  <a:pt x="541322" y="539525"/>
                </a:lnTo>
                <a:close/>
                <a:moveTo>
                  <a:pt x="213979" y="377368"/>
                </a:moveTo>
                <a:cubicBezTo>
                  <a:pt x="203517" y="377368"/>
                  <a:pt x="193229" y="378118"/>
                  <a:pt x="183203" y="379804"/>
                </a:cubicBezTo>
                <a:cubicBezTo>
                  <a:pt x="172466" y="453001"/>
                  <a:pt x="99031" y="437635"/>
                  <a:pt x="90425" y="428458"/>
                </a:cubicBezTo>
                <a:lnTo>
                  <a:pt x="84151" y="421682"/>
                </a:lnTo>
                <a:cubicBezTo>
                  <a:pt x="68565" y="433241"/>
                  <a:pt x="54847" y="447118"/>
                  <a:pt x="43210" y="462647"/>
                </a:cubicBezTo>
                <a:cubicBezTo>
                  <a:pt x="87348" y="533097"/>
                  <a:pt x="15688" y="566489"/>
                  <a:pt x="1783" y="564700"/>
                </a:cubicBezTo>
                <a:cubicBezTo>
                  <a:pt x="546" y="573297"/>
                  <a:pt x="0" y="582073"/>
                  <a:pt x="0" y="590977"/>
                </a:cubicBezTo>
                <a:cubicBezTo>
                  <a:pt x="0" y="599955"/>
                  <a:pt x="554" y="608804"/>
                  <a:pt x="1850" y="617460"/>
                </a:cubicBezTo>
                <a:cubicBezTo>
                  <a:pt x="3394" y="617888"/>
                  <a:pt x="4779" y="618413"/>
                  <a:pt x="5984" y="619017"/>
                </a:cubicBezTo>
                <a:lnTo>
                  <a:pt x="6064" y="618999"/>
                </a:lnTo>
                <a:cubicBezTo>
                  <a:pt x="75592" y="642838"/>
                  <a:pt x="57019" y="700691"/>
                  <a:pt x="43401" y="719302"/>
                </a:cubicBezTo>
                <a:cubicBezTo>
                  <a:pt x="54762" y="734810"/>
                  <a:pt x="68415" y="748500"/>
                  <a:pt x="83708" y="760167"/>
                </a:cubicBezTo>
                <a:cubicBezTo>
                  <a:pt x="151314" y="719891"/>
                  <a:pt x="184010" y="786803"/>
                  <a:pt x="183393" y="802156"/>
                </a:cubicBezTo>
                <a:cubicBezTo>
                  <a:pt x="193357" y="803845"/>
                  <a:pt x="203581" y="804585"/>
                  <a:pt x="213979" y="804585"/>
                </a:cubicBezTo>
                <a:cubicBezTo>
                  <a:pt x="224168" y="804585"/>
                  <a:pt x="234190" y="803875"/>
                  <a:pt x="243968" y="802293"/>
                </a:cubicBezTo>
                <a:cubicBezTo>
                  <a:pt x="263526" y="726862"/>
                  <a:pt x="329438" y="747618"/>
                  <a:pt x="344402" y="759820"/>
                </a:cubicBezTo>
                <a:cubicBezTo>
                  <a:pt x="359835" y="748288"/>
                  <a:pt x="373418" y="734476"/>
                  <a:pt x="384950" y="719038"/>
                </a:cubicBezTo>
                <a:cubicBezTo>
                  <a:pt x="344357" y="652046"/>
                  <a:pt x="409281" y="619160"/>
                  <a:pt x="425937" y="618817"/>
                </a:cubicBezTo>
                <a:cubicBezTo>
                  <a:pt x="427345" y="609724"/>
                  <a:pt x="427959" y="600422"/>
                  <a:pt x="427959" y="590977"/>
                </a:cubicBezTo>
                <a:cubicBezTo>
                  <a:pt x="427959" y="581655"/>
                  <a:pt x="427361" y="572473"/>
                  <a:pt x="426078" y="563483"/>
                </a:cubicBezTo>
                <a:cubicBezTo>
                  <a:pt x="351064" y="548318"/>
                  <a:pt x="372264" y="474960"/>
                  <a:pt x="382179" y="467001"/>
                </a:cubicBezTo>
                <a:lnTo>
                  <a:pt x="385733" y="464186"/>
                </a:lnTo>
                <a:cubicBezTo>
                  <a:pt x="374598" y="448689"/>
                  <a:pt x="361194" y="434964"/>
                  <a:pt x="346160" y="423212"/>
                </a:cubicBezTo>
                <a:cubicBezTo>
                  <a:pt x="275321" y="466955"/>
                  <a:pt x="242108" y="393917"/>
                  <a:pt x="244563" y="381108"/>
                </a:cubicBezTo>
                <a:lnTo>
                  <a:pt x="244816" y="379836"/>
                </a:lnTo>
                <a:cubicBezTo>
                  <a:pt x="234773" y="378121"/>
                  <a:pt x="224464" y="377368"/>
                  <a:pt x="213979" y="377368"/>
                </a:cubicBezTo>
                <a:close/>
                <a:moveTo>
                  <a:pt x="542217" y="364947"/>
                </a:moveTo>
                <a:lnTo>
                  <a:pt x="542217" y="430987"/>
                </a:lnTo>
                <a:lnTo>
                  <a:pt x="841118" y="437045"/>
                </a:lnTo>
                <a:cubicBezTo>
                  <a:pt x="841118" y="417654"/>
                  <a:pt x="841117" y="397378"/>
                  <a:pt x="841117" y="377986"/>
                </a:cubicBezTo>
                <a:close/>
                <a:moveTo>
                  <a:pt x="541322" y="352235"/>
                </a:moveTo>
                <a:lnTo>
                  <a:pt x="853592" y="365372"/>
                </a:lnTo>
                <a:cubicBezTo>
                  <a:pt x="851940" y="388504"/>
                  <a:pt x="851796" y="416479"/>
                  <a:pt x="852622" y="439610"/>
                </a:cubicBezTo>
                <a:lnTo>
                  <a:pt x="541322" y="432939"/>
                </a:lnTo>
                <a:close/>
                <a:moveTo>
                  <a:pt x="542217" y="255291"/>
                </a:moveTo>
                <a:lnTo>
                  <a:pt x="542217" y="321331"/>
                </a:lnTo>
                <a:lnTo>
                  <a:pt x="842002" y="338886"/>
                </a:lnTo>
                <a:cubicBezTo>
                  <a:pt x="842002" y="319494"/>
                  <a:pt x="842001" y="300103"/>
                  <a:pt x="842001" y="280710"/>
                </a:cubicBezTo>
                <a:close/>
                <a:moveTo>
                  <a:pt x="541322" y="242742"/>
                </a:moveTo>
                <a:lnTo>
                  <a:pt x="853592" y="269445"/>
                </a:lnTo>
                <a:cubicBezTo>
                  <a:pt x="851940" y="292576"/>
                  <a:pt x="851796" y="317646"/>
                  <a:pt x="852622" y="340776"/>
                </a:cubicBezTo>
                <a:lnTo>
                  <a:pt x="541322" y="323446"/>
                </a:lnTo>
                <a:close/>
                <a:moveTo>
                  <a:pt x="542217" y="147404"/>
                </a:moveTo>
                <a:lnTo>
                  <a:pt x="542217" y="213444"/>
                </a:lnTo>
                <a:lnTo>
                  <a:pt x="842887" y="241611"/>
                </a:lnTo>
                <a:cubicBezTo>
                  <a:pt x="842887" y="222220"/>
                  <a:pt x="842886" y="202827"/>
                  <a:pt x="842886" y="183435"/>
                </a:cubicBezTo>
                <a:close/>
                <a:moveTo>
                  <a:pt x="541322" y="134218"/>
                </a:moveTo>
                <a:lnTo>
                  <a:pt x="852622" y="171579"/>
                </a:lnTo>
                <a:cubicBezTo>
                  <a:pt x="850971" y="194710"/>
                  <a:pt x="851796" y="220749"/>
                  <a:pt x="852622" y="243880"/>
                </a:cubicBezTo>
                <a:lnTo>
                  <a:pt x="541322" y="214923"/>
                </a:lnTo>
                <a:close/>
                <a:moveTo>
                  <a:pt x="542217" y="39517"/>
                </a:moveTo>
                <a:lnTo>
                  <a:pt x="542217" y="105557"/>
                </a:lnTo>
                <a:lnTo>
                  <a:pt x="842886" y="144335"/>
                </a:lnTo>
                <a:lnTo>
                  <a:pt x="842886" y="87930"/>
                </a:lnTo>
                <a:close/>
                <a:moveTo>
                  <a:pt x="541322" y="26664"/>
                </a:moveTo>
                <a:lnTo>
                  <a:pt x="852622" y="74685"/>
                </a:lnTo>
                <a:cubicBezTo>
                  <a:pt x="850971" y="97815"/>
                  <a:pt x="850828" y="123853"/>
                  <a:pt x="851653" y="146985"/>
                </a:cubicBezTo>
                <a:lnTo>
                  <a:pt x="541322" y="107368"/>
                </a:lnTo>
                <a:close/>
                <a:moveTo>
                  <a:pt x="525937" y="20713"/>
                </a:moveTo>
                <a:lnTo>
                  <a:pt x="525937" y="1075435"/>
                </a:lnTo>
                <a:lnTo>
                  <a:pt x="200917" y="1008519"/>
                </a:lnTo>
                <a:lnTo>
                  <a:pt x="514785" y="1062688"/>
                </a:lnTo>
                <a:lnTo>
                  <a:pt x="514785" y="41425"/>
                </a:lnTo>
                <a:lnTo>
                  <a:pt x="192951" y="130646"/>
                </a:lnTo>
                <a:close/>
                <a:moveTo>
                  <a:pt x="530717" y="0"/>
                </a:moveTo>
                <a:lnTo>
                  <a:pt x="170646" y="117900"/>
                </a:lnTo>
                <a:lnTo>
                  <a:pt x="170646" y="371040"/>
                </a:lnTo>
                <a:lnTo>
                  <a:pt x="178118" y="344916"/>
                </a:lnTo>
                <a:cubicBezTo>
                  <a:pt x="189801" y="342951"/>
                  <a:pt x="201788" y="342077"/>
                  <a:pt x="213980" y="342077"/>
                </a:cubicBezTo>
                <a:lnTo>
                  <a:pt x="249911" y="344953"/>
                </a:lnTo>
                <a:lnTo>
                  <a:pt x="249617" y="346435"/>
                </a:lnTo>
                <a:cubicBezTo>
                  <a:pt x="246756" y="361360"/>
                  <a:pt x="285457" y="446466"/>
                  <a:pt x="368000" y="395495"/>
                </a:cubicBezTo>
                <a:cubicBezTo>
                  <a:pt x="385517" y="409189"/>
                  <a:pt x="401137" y="425182"/>
                  <a:pt x="414110" y="443239"/>
                </a:cubicBezTo>
                <a:lnTo>
                  <a:pt x="409970" y="446519"/>
                </a:lnTo>
                <a:cubicBezTo>
                  <a:pt x="398417" y="455793"/>
                  <a:pt x="373714" y="541272"/>
                  <a:pt x="461121" y="558942"/>
                </a:cubicBezTo>
                <a:cubicBezTo>
                  <a:pt x="462617" y="569417"/>
                  <a:pt x="463314" y="580117"/>
                  <a:pt x="463314" y="590979"/>
                </a:cubicBezTo>
                <a:cubicBezTo>
                  <a:pt x="463314" y="601984"/>
                  <a:pt x="462599" y="612823"/>
                  <a:pt x="460958" y="623417"/>
                </a:cubicBezTo>
                <a:cubicBezTo>
                  <a:pt x="441550" y="623818"/>
                  <a:pt x="365899" y="662138"/>
                  <a:pt x="413199" y="740198"/>
                </a:cubicBezTo>
                <a:cubicBezTo>
                  <a:pt x="399762" y="758187"/>
                  <a:pt x="383933" y="774281"/>
                  <a:pt x="365952" y="787718"/>
                </a:cubicBezTo>
                <a:cubicBezTo>
                  <a:pt x="348515" y="773500"/>
                  <a:pt x="271713" y="749315"/>
                  <a:pt x="248924" y="837209"/>
                </a:cubicBezTo>
                <a:cubicBezTo>
                  <a:pt x="237529" y="839052"/>
                  <a:pt x="225851" y="839879"/>
                  <a:pt x="213980" y="839879"/>
                </a:cubicBezTo>
                <a:cubicBezTo>
                  <a:pt x="201864" y="839879"/>
                  <a:pt x="189949" y="839017"/>
                  <a:pt x="178339" y="837049"/>
                </a:cubicBezTo>
                <a:cubicBezTo>
                  <a:pt x="178527" y="832366"/>
                  <a:pt x="176055" y="823565"/>
                  <a:pt x="170646" y="814097"/>
                </a:cubicBezTo>
                <a:lnTo>
                  <a:pt x="170646" y="1014892"/>
                </a:lnTo>
                <a:lnTo>
                  <a:pt x="532310" y="1092960"/>
                </a:lnTo>
                <a:lnTo>
                  <a:pt x="873263" y="1022857"/>
                </a:lnTo>
                <a:cubicBezTo>
                  <a:pt x="872732" y="704210"/>
                  <a:pt x="872201" y="376004"/>
                  <a:pt x="871670" y="57356"/>
                </a:cubicBezTo>
                <a:close/>
              </a:path>
            </a:pathLst>
          </a:custGeom>
          <a:solidFill>
            <a:schemeClr val="bg1"/>
          </a:solidFill>
        </p:spPr>
        <p:txBody>
          <a:bodyPr vert="horz" wrap="square" lIns="89642" tIns="89642" rIns="89642" bIns="89642"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50" rtl="0" eaLnBrk="1" fontAlgn="auto" latinLnBrk="0" hangingPunct="1">
              <a:lnSpc>
                <a:spcPct val="90000"/>
              </a:lnSpc>
              <a:spcBef>
                <a:spcPts val="618"/>
              </a:spcBef>
              <a:spcAft>
                <a:spcPts val="0"/>
              </a:spcAft>
              <a:buClr>
                <a:srgbClr val="FFFF99"/>
              </a:buClr>
              <a:buSzPct val="120000"/>
              <a:buFontTx/>
              <a:buNone/>
              <a:tabLst/>
              <a:defRPr/>
            </a:pPr>
            <a:endParaRPr kumimoji="0" lang="en-US" sz="1765"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ound Same Side Corner Rectangle 105">
            <a:extLst>
              <a:ext uri="{FF2B5EF4-FFF2-40B4-BE49-F238E27FC236}">
                <a16:creationId xmlns:a16="http://schemas.microsoft.com/office/drawing/2014/main" id="{412283A8-CEF1-4C90-9D32-1DC2A0D5132D}"/>
              </a:ext>
            </a:extLst>
          </p:cNvPr>
          <p:cNvSpPr/>
          <p:nvPr/>
        </p:nvSpPr>
        <p:spPr>
          <a:xfrm>
            <a:off x="9886612" y="2109235"/>
            <a:ext cx="457863" cy="515093"/>
          </a:xfrm>
          <a:custGeom>
            <a:avLst/>
            <a:gdLst/>
            <a:ahLst/>
            <a:cxnLst/>
            <a:rect l="l" t="t" r="r" b="b"/>
            <a:pathLst>
              <a:path w="1011509" h="1137948">
                <a:moveTo>
                  <a:pt x="112643" y="947936"/>
                </a:moveTo>
                <a:lnTo>
                  <a:pt x="112643" y="1010346"/>
                </a:lnTo>
                <a:lnTo>
                  <a:pt x="896318" y="1010346"/>
                </a:lnTo>
                <a:lnTo>
                  <a:pt x="896318" y="947936"/>
                </a:lnTo>
                <a:close/>
                <a:moveTo>
                  <a:pt x="112643" y="841749"/>
                </a:moveTo>
                <a:lnTo>
                  <a:pt x="112643" y="904159"/>
                </a:lnTo>
                <a:lnTo>
                  <a:pt x="896318" y="904159"/>
                </a:lnTo>
                <a:lnTo>
                  <a:pt x="896318" y="841749"/>
                </a:lnTo>
                <a:close/>
                <a:moveTo>
                  <a:pt x="112643" y="735562"/>
                </a:moveTo>
                <a:lnTo>
                  <a:pt x="112643" y="797972"/>
                </a:lnTo>
                <a:lnTo>
                  <a:pt x="896318" y="797972"/>
                </a:lnTo>
                <a:lnTo>
                  <a:pt x="896318" y="735562"/>
                </a:lnTo>
                <a:close/>
                <a:moveTo>
                  <a:pt x="112643" y="629375"/>
                </a:moveTo>
                <a:lnTo>
                  <a:pt x="112643" y="691785"/>
                </a:lnTo>
                <a:lnTo>
                  <a:pt x="896318" y="691785"/>
                </a:lnTo>
                <a:lnTo>
                  <a:pt x="896318" y="629375"/>
                </a:lnTo>
                <a:close/>
                <a:moveTo>
                  <a:pt x="619708" y="490200"/>
                </a:moveTo>
                <a:lnTo>
                  <a:pt x="619708" y="552609"/>
                </a:lnTo>
                <a:lnTo>
                  <a:pt x="896318" y="552609"/>
                </a:lnTo>
                <a:lnTo>
                  <a:pt x="896318" y="490200"/>
                </a:lnTo>
                <a:close/>
                <a:moveTo>
                  <a:pt x="619708" y="404670"/>
                </a:moveTo>
                <a:lnTo>
                  <a:pt x="619708" y="467080"/>
                </a:lnTo>
                <a:lnTo>
                  <a:pt x="896318" y="467080"/>
                </a:lnTo>
                <a:lnTo>
                  <a:pt x="896318" y="404670"/>
                </a:lnTo>
                <a:close/>
                <a:moveTo>
                  <a:pt x="619708" y="319140"/>
                </a:moveTo>
                <a:lnTo>
                  <a:pt x="619708" y="381550"/>
                </a:lnTo>
                <a:lnTo>
                  <a:pt x="896318" y="381550"/>
                </a:lnTo>
                <a:lnTo>
                  <a:pt x="896318" y="319140"/>
                </a:lnTo>
                <a:close/>
                <a:moveTo>
                  <a:pt x="112643" y="289241"/>
                </a:moveTo>
                <a:lnTo>
                  <a:pt x="112643" y="552609"/>
                </a:lnTo>
                <a:lnTo>
                  <a:pt x="576937" y="552609"/>
                </a:lnTo>
                <a:lnTo>
                  <a:pt x="576937" y="289241"/>
                </a:lnTo>
                <a:close/>
                <a:moveTo>
                  <a:pt x="67028" y="231111"/>
                </a:moveTo>
                <a:lnTo>
                  <a:pt x="941933" y="231111"/>
                </a:lnTo>
                <a:lnTo>
                  <a:pt x="941933" y="1059048"/>
                </a:lnTo>
                <a:lnTo>
                  <a:pt x="67028" y="1059048"/>
                </a:lnTo>
                <a:close/>
                <a:moveTo>
                  <a:pt x="47317" y="202983"/>
                </a:moveTo>
                <a:lnTo>
                  <a:pt x="47317" y="1091189"/>
                </a:lnTo>
                <a:lnTo>
                  <a:pt x="964192" y="1091189"/>
                </a:lnTo>
                <a:lnTo>
                  <a:pt x="964192" y="202983"/>
                </a:lnTo>
                <a:close/>
                <a:moveTo>
                  <a:pt x="530810" y="86507"/>
                </a:moveTo>
                <a:lnTo>
                  <a:pt x="615612" y="86507"/>
                </a:lnTo>
                <a:lnTo>
                  <a:pt x="615612" y="116179"/>
                </a:lnTo>
                <a:lnTo>
                  <a:pt x="530810" y="116179"/>
                </a:lnTo>
                <a:close/>
                <a:moveTo>
                  <a:pt x="862242" y="57370"/>
                </a:moveTo>
                <a:lnTo>
                  <a:pt x="886879" y="82007"/>
                </a:lnTo>
                <a:lnTo>
                  <a:pt x="911517" y="57370"/>
                </a:lnTo>
                <a:lnTo>
                  <a:pt x="930853" y="76706"/>
                </a:lnTo>
                <a:lnTo>
                  <a:pt x="906215" y="101344"/>
                </a:lnTo>
                <a:lnTo>
                  <a:pt x="930853" y="125981"/>
                </a:lnTo>
                <a:lnTo>
                  <a:pt x="911517" y="145317"/>
                </a:lnTo>
                <a:lnTo>
                  <a:pt x="886879" y="120680"/>
                </a:lnTo>
                <a:lnTo>
                  <a:pt x="862242" y="145317"/>
                </a:lnTo>
                <a:lnTo>
                  <a:pt x="842905" y="125981"/>
                </a:lnTo>
                <a:lnTo>
                  <a:pt x="867543" y="101344"/>
                </a:lnTo>
                <a:lnTo>
                  <a:pt x="842905" y="76706"/>
                </a:lnTo>
                <a:close/>
                <a:moveTo>
                  <a:pt x="711433" y="56188"/>
                </a:moveTo>
                <a:lnTo>
                  <a:pt x="740336" y="56188"/>
                </a:lnTo>
                <a:lnTo>
                  <a:pt x="740336" y="86891"/>
                </a:lnTo>
                <a:lnTo>
                  <a:pt x="771040" y="86891"/>
                </a:lnTo>
                <a:lnTo>
                  <a:pt x="771040" y="115795"/>
                </a:lnTo>
                <a:lnTo>
                  <a:pt x="740336" y="115795"/>
                </a:lnTo>
                <a:lnTo>
                  <a:pt x="740336" y="146498"/>
                </a:lnTo>
                <a:lnTo>
                  <a:pt x="711433" y="146498"/>
                </a:lnTo>
                <a:lnTo>
                  <a:pt x="711433" y="115795"/>
                </a:lnTo>
                <a:lnTo>
                  <a:pt x="680729" y="115795"/>
                </a:lnTo>
                <a:lnTo>
                  <a:pt x="680729" y="86891"/>
                </a:lnTo>
                <a:lnTo>
                  <a:pt x="711433" y="86891"/>
                </a:lnTo>
                <a:close/>
                <a:moveTo>
                  <a:pt x="842073" y="35666"/>
                </a:moveTo>
                <a:cubicBezTo>
                  <a:pt x="829833" y="35666"/>
                  <a:pt x="819910" y="45589"/>
                  <a:pt x="819910" y="57829"/>
                </a:cubicBezTo>
                <a:lnTo>
                  <a:pt x="819910" y="146481"/>
                </a:lnTo>
                <a:cubicBezTo>
                  <a:pt x="819910" y="158722"/>
                  <a:pt x="829833" y="168645"/>
                  <a:pt x="842073" y="168645"/>
                </a:cubicBezTo>
                <a:lnTo>
                  <a:pt x="930726" y="168645"/>
                </a:lnTo>
                <a:cubicBezTo>
                  <a:pt x="942967" y="168645"/>
                  <a:pt x="952889" y="158722"/>
                  <a:pt x="952889" y="146481"/>
                </a:cubicBezTo>
                <a:lnTo>
                  <a:pt x="952889" y="57829"/>
                </a:lnTo>
                <a:cubicBezTo>
                  <a:pt x="952889" y="45589"/>
                  <a:pt x="942967" y="35666"/>
                  <a:pt x="930726" y="35666"/>
                </a:cubicBezTo>
                <a:close/>
                <a:moveTo>
                  <a:pt x="681559" y="35666"/>
                </a:moveTo>
                <a:cubicBezTo>
                  <a:pt x="669318" y="35666"/>
                  <a:pt x="659395" y="45589"/>
                  <a:pt x="659395" y="57829"/>
                </a:cubicBezTo>
                <a:lnTo>
                  <a:pt x="659395" y="146481"/>
                </a:lnTo>
                <a:cubicBezTo>
                  <a:pt x="659395" y="158722"/>
                  <a:pt x="669318" y="168645"/>
                  <a:pt x="681559" y="168645"/>
                </a:cubicBezTo>
                <a:lnTo>
                  <a:pt x="770211" y="168645"/>
                </a:lnTo>
                <a:cubicBezTo>
                  <a:pt x="782452" y="168645"/>
                  <a:pt x="792374" y="158722"/>
                  <a:pt x="792374" y="146481"/>
                </a:cubicBezTo>
                <a:lnTo>
                  <a:pt x="792374" y="57829"/>
                </a:lnTo>
                <a:cubicBezTo>
                  <a:pt x="792374" y="45589"/>
                  <a:pt x="782452" y="35666"/>
                  <a:pt x="770211" y="35666"/>
                </a:cubicBezTo>
                <a:close/>
                <a:moveTo>
                  <a:pt x="528885" y="35666"/>
                </a:moveTo>
                <a:cubicBezTo>
                  <a:pt x="516644" y="35666"/>
                  <a:pt x="506721" y="45589"/>
                  <a:pt x="506721" y="57829"/>
                </a:cubicBezTo>
                <a:lnTo>
                  <a:pt x="506721" y="146481"/>
                </a:lnTo>
                <a:cubicBezTo>
                  <a:pt x="506721" y="158722"/>
                  <a:pt x="516644" y="168645"/>
                  <a:pt x="528885" y="168645"/>
                </a:cubicBezTo>
                <a:lnTo>
                  <a:pt x="617537" y="168645"/>
                </a:lnTo>
                <a:cubicBezTo>
                  <a:pt x="629778" y="168645"/>
                  <a:pt x="639701" y="158722"/>
                  <a:pt x="639701" y="146481"/>
                </a:cubicBezTo>
                <a:lnTo>
                  <a:pt x="639701" y="57829"/>
                </a:lnTo>
                <a:cubicBezTo>
                  <a:pt x="639701" y="45589"/>
                  <a:pt x="629778" y="35666"/>
                  <a:pt x="617537" y="35666"/>
                </a:cubicBezTo>
                <a:close/>
                <a:moveTo>
                  <a:pt x="72680" y="0"/>
                </a:moveTo>
                <a:lnTo>
                  <a:pt x="75469" y="0"/>
                </a:lnTo>
                <a:lnTo>
                  <a:pt x="139348" y="0"/>
                </a:lnTo>
                <a:lnTo>
                  <a:pt x="936041" y="0"/>
                </a:lnTo>
                <a:cubicBezTo>
                  <a:pt x="977721" y="0"/>
                  <a:pt x="1011509" y="33789"/>
                  <a:pt x="1011509" y="75469"/>
                </a:cubicBezTo>
                <a:lnTo>
                  <a:pt x="1011509" y="1137948"/>
                </a:lnTo>
                <a:lnTo>
                  <a:pt x="72680" y="1137948"/>
                </a:lnTo>
                <a:lnTo>
                  <a:pt x="26636" y="1137948"/>
                </a:lnTo>
                <a:lnTo>
                  <a:pt x="0" y="1137948"/>
                </a:lnTo>
                <a:lnTo>
                  <a:pt x="0" y="75469"/>
                </a:lnTo>
                <a:cubicBezTo>
                  <a:pt x="0" y="34729"/>
                  <a:pt x="32282" y="1528"/>
                  <a:pt x="72680" y="5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1"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5C91E0C5-25A0-41A7-A99E-FC475C925AB7}"/>
              </a:ext>
            </a:extLst>
          </p:cNvPr>
          <p:cNvSpPr/>
          <p:nvPr/>
        </p:nvSpPr>
        <p:spPr>
          <a:xfrm>
            <a:off x="2097140" y="2096502"/>
            <a:ext cx="283400" cy="540559"/>
          </a:xfrm>
          <a:custGeom>
            <a:avLst/>
            <a:gdLst>
              <a:gd name="connsiteX0" fmla="*/ 57432 w 441908"/>
              <a:gd name="connsiteY0" fmla="*/ 746893 h 842896"/>
              <a:gd name="connsiteX1" fmla="*/ 57432 w 441908"/>
              <a:gd name="connsiteY1" fmla="*/ 776385 h 842896"/>
              <a:gd name="connsiteX2" fmla="*/ 384477 w 441908"/>
              <a:gd name="connsiteY2" fmla="*/ 776385 h 842896"/>
              <a:gd name="connsiteX3" fmla="*/ 384477 w 441908"/>
              <a:gd name="connsiteY3" fmla="*/ 746893 h 842896"/>
              <a:gd name="connsiteX4" fmla="*/ 57432 w 441908"/>
              <a:gd name="connsiteY4" fmla="*/ 691024 h 842896"/>
              <a:gd name="connsiteX5" fmla="*/ 57432 w 441908"/>
              <a:gd name="connsiteY5" fmla="*/ 720515 h 842896"/>
              <a:gd name="connsiteX6" fmla="*/ 109043 w 441908"/>
              <a:gd name="connsiteY6" fmla="*/ 720515 h 842896"/>
              <a:gd name="connsiteX7" fmla="*/ 109043 w 441908"/>
              <a:gd name="connsiteY7" fmla="*/ 691024 h 842896"/>
              <a:gd name="connsiteX8" fmla="*/ 57432 w 441908"/>
              <a:gd name="connsiteY8" fmla="*/ 635148 h 842896"/>
              <a:gd name="connsiteX9" fmla="*/ 57432 w 441908"/>
              <a:gd name="connsiteY9" fmla="*/ 664640 h 842896"/>
              <a:gd name="connsiteX10" fmla="*/ 109043 w 441908"/>
              <a:gd name="connsiteY10" fmla="*/ 664640 h 842896"/>
              <a:gd name="connsiteX11" fmla="*/ 109043 w 441908"/>
              <a:gd name="connsiteY11" fmla="*/ 635148 h 842896"/>
              <a:gd name="connsiteX12" fmla="*/ 57432 w 441908"/>
              <a:gd name="connsiteY12" fmla="*/ 151777 h 842896"/>
              <a:gd name="connsiteX13" fmla="*/ 57432 w 441908"/>
              <a:gd name="connsiteY13" fmla="*/ 190083 h 842896"/>
              <a:gd name="connsiteX14" fmla="*/ 384477 w 441908"/>
              <a:gd name="connsiteY14" fmla="*/ 190083 h 842896"/>
              <a:gd name="connsiteX15" fmla="*/ 384477 w 441908"/>
              <a:gd name="connsiteY15" fmla="*/ 151777 h 842896"/>
              <a:gd name="connsiteX16" fmla="*/ 57432 w 441908"/>
              <a:gd name="connsiteY16" fmla="*/ 86447 h 842896"/>
              <a:gd name="connsiteX17" fmla="*/ 57432 w 441908"/>
              <a:gd name="connsiteY17" fmla="*/ 123311 h 842896"/>
              <a:gd name="connsiteX18" fmla="*/ 384477 w 441908"/>
              <a:gd name="connsiteY18" fmla="*/ 123311 h 842896"/>
              <a:gd name="connsiteX19" fmla="*/ 384477 w 441908"/>
              <a:gd name="connsiteY19" fmla="*/ 86447 h 842896"/>
              <a:gd name="connsiteX20" fmla="*/ 35551 w 441908"/>
              <a:gd name="connsiteY20" fmla="*/ 0 h 842896"/>
              <a:gd name="connsiteX21" fmla="*/ 406357 w 441908"/>
              <a:gd name="connsiteY21" fmla="*/ 0 h 842896"/>
              <a:gd name="connsiteX22" fmla="*/ 441908 w 441908"/>
              <a:gd name="connsiteY22" fmla="*/ 35551 h 842896"/>
              <a:gd name="connsiteX23" fmla="*/ 441908 w 441908"/>
              <a:gd name="connsiteY23" fmla="*/ 807345 h 842896"/>
              <a:gd name="connsiteX24" fmla="*/ 406357 w 441908"/>
              <a:gd name="connsiteY24" fmla="*/ 842896 h 842896"/>
              <a:gd name="connsiteX25" fmla="*/ 35551 w 441908"/>
              <a:gd name="connsiteY25" fmla="*/ 842896 h 842896"/>
              <a:gd name="connsiteX26" fmla="*/ 0 w 441908"/>
              <a:gd name="connsiteY26" fmla="*/ 807345 h 842896"/>
              <a:gd name="connsiteX27" fmla="*/ 0 w 441908"/>
              <a:gd name="connsiteY27" fmla="*/ 35551 h 842896"/>
              <a:gd name="connsiteX28" fmla="*/ 35551 w 441908"/>
              <a:gd name="connsiteY28" fmla="*/ 0 h 84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1908" h="842896">
                <a:moveTo>
                  <a:pt x="57432" y="746893"/>
                </a:moveTo>
                <a:lnTo>
                  <a:pt x="57432" y="776385"/>
                </a:lnTo>
                <a:lnTo>
                  <a:pt x="384477" y="776385"/>
                </a:lnTo>
                <a:lnTo>
                  <a:pt x="384477" y="746893"/>
                </a:lnTo>
                <a:close/>
                <a:moveTo>
                  <a:pt x="57432" y="691024"/>
                </a:moveTo>
                <a:lnTo>
                  <a:pt x="57432" y="720515"/>
                </a:lnTo>
                <a:lnTo>
                  <a:pt x="109043" y="720515"/>
                </a:lnTo>
                <a:lnTo>
                  <a:pt x="109043" y="691024"/>
                </a:lnTo>
                <a:close/>
                <a:moveTo>
                  <a:pt x="57432" y="635148"/>
                </a:moveTo>
                <a:lnTo>
                  <a:pt x="57432" y="664640"/>
                </a:lnTo>
                <a:lnTo>
                  <a:pt x="109043" y="664640"/>
                </a:lnTo>
                <a:lnTo>
                  <a:pt x="109043" y="635148"/>
                </a:lnTo>
                <a:close/>
                <a:moveTo>
                  <a:pt x="57432" y="151777"/>
                </a:moveTo>
                <a:lnTo>
                  <a:pt x="57432" y="190083"/>
                </a:lnTo>
                <a:lnTo>
                  <a:pt x="384477" y="190083"/>
                </a:lnTo>
                <a:lnTo>
                  <a:pt x="384477" y="151777"/>
                </a:lnTo>
                <a:close/>
                <a:moveTo>
                  <a:pt x="57432" y="86447"/>
                </a:moveTo>
                <a:lnTo>
                  <a:pt x="57432" y="123311"/>
                </a:lnTo>
                <a:lnTo>
                  <a:pt x="384477" y="123311"/>
                </a:lnTo>
                <a:lnTo>
                  <a:pt x="384477" y="86447"/>
                </a:lnTo>
                <a:close/>
                <a:moveTo>
                  <a:pt x="35551" y="0"/>
                </a:moveTo>
                <a:lnTo>
                  <a:pt x="406357" y="0"/>
                </a:lnTo>
                <a:cubicBezTo>
                  <a:pt x="425991" y="0"/>
                  <a:pt x="441908" y="15917"/>
                  <a:pt x="441908" y="35551"/>
                </a:cubicBezTo>
                <a:lnTo>
                  <a:pt x="441908" y="807345"/>
                </a:lnTo>
                <a:cubicBezTo>
                  <a:pt x="441908" y="826979"/>
                  <a:pt x="425991" y="842896"/>
                  <a:pt x="406357" y="842896"/>
                </a:cubicBezTo>
                <a:lnTo>
                  <a:pt x="35551" y="842896"/>
                </a:lnTo>
                <a:cubicBezTo>
                  <a:pt x="15917" y="842896"/>
                  <a:pt x="0" y="826979"/>
                  <a:pt x="0" y="807345"/>
                </a:cubicBezTo>
                <a:lnTo>
                  <a:pt x="0" y="35551"/>
                </a:lnTo>
                <a:cubicBezTo>
                  <a:pt x="0" y="15917"/>
                  <a:pt x="15917" y="0"/>
                  <a:pt x="3555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1"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44">
            <a:extLst>
              <a:ext uri="{FF2B5EF4-FFF2-40B4-BE49-F238E27FC236}">
                <a16:creationId xmlns:a16="http://schemas.microsoft.com/office/drawing/2014/main" id="{156E24B2-6069-474E-8EDC-FF664CBA4CD9}"/>
              </a:ext>
            </a:extLst>
          </p:cNvPr>
          <p:cNvSpPr/>
          <p:nvPr/>
        </p:nvSpPr>
        <p:spPr>
          <a:xfrm>
            <a:off x="5750370" y="5428270"/>
            <a:ext cx="691261" cy="38415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binary" title="Icon of binary code, ones and zeros">
            <a:extLst>
              <a:ext uri="{FF2B5EF4-FFF2-40B4-BE49-F238E27FC236}">
                <a16:creationId xmlns:a16="http://schemas.microsoft.com/office/drawing/2014/main" id="{89F5DD3D-F598-4B96-836D-C44B0A1BECF5}"/>
              </a:ext>
            </a:extLst>
          </p:cNvPr>
          <p:cNvSpPr>
            <a:spLocks noChangeAspect="1" noEditPoints="1"/>
          </p:cNvSpPr>
          <p:nvPr/>
        </p:nvSpPr>
        <p:spPr bwMode="auto">
          <a:xfrm>
            <a:off x="7253491" y="2162578"/>
            <a:ext cx="472969" cy="408407"/>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8575" cap="sq">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30" b="1" i="0" u="none" strike="noStrike" kern="1200" cap="none" spc="0" normalizeH="0" baseline="0" noProof="0">
              <a:ln>
                <a:noFill/>
              </a:ln>
              <a:solidFill>
                <a:srgbClr val="0D0D0D"/>
              </a:solidFill>
              <a:effectLst/>
              <a:uLnTx/>
              <a:uFillTx/>
              <a:latin typeface="Segoe UI"/>
              <a:ea typeface="+mn-ea"/>
              <a:cs typeface="+mn-cs"/>
            </a:endParaRPr>
          </a:p>
        </p:txBody>
      </p:sp>
    </p:spTree>
    <p:extLst>
      <p:ext uri="{BB962C8B-B14F-4D97-AF65-F5344CB8AC3E}">
        <p14:creationId xmlns:p14="http://schemas.microsoft.com/office/powerpoint/2010/main" val="145287507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8F72-E292-48BE-B6F6-E96E984BD24B}"/>
              </a:ext>
            </a:extLst>
          </p:cNvPr>
          <p:cNvSpPr>
            <a:spLocks noGrp="1"/>
          </p:cNvSpPr>
          <p:nvPr>
            <p:ph type="title"/>
          </p:nvPr>
        </p:nvSpPr>
        <p:spPr>
          <a:xfrm>
            <a:off x="588263" y="457200"/>
            <a:ext cx="11018520" cy="423193"/>
          </a:xfrm>
        </p:spPr>
        <p:txBody>
          <a:bodyPr/>
          <a:lstStyle/>
          <a:p>
            <a:r>
              <a:rPr lang="en-US" sz="2750" dirty="0"/>
              <a:t>Microsoft Cloud Adoption Framework for Azure</a:t>
            </a:r>
            <a:endParaRPr lang="en-IN" sz="2750" dirty="0"/>
          </a:p>
        </p:txBody>
      </p:sp>
      <p:pic>
        <p:nvPicPr>
          <p:cNvPr id="4" name="Picture 3">
            <a:extLst>
              <a:ext uri="{FF2B5EF4-FFF2-40B4-BE49-F238E27FC236}">
                <a16:creationId xmlns:a16="http://schemas.microsoft.com/office/drawing/2014/main" id="{1F4DC121-4AA0-457E-805E-55949F77F0A3}"/>
              </a:ext>
            </a:extLst>
          </p:cNvPr>
          <p:cNvPicPr>
            <a:picLocks noChangeAspect="1"/>
          </p:cNvPicPr>
          <p:nvPr/>
        </p:nvPicPr>
        <p:blipFill rotWithShape="1">
          <a:blip r:embed="rId2"/>
          <a:srcRect l="1158"/>
          <a:stretch/>
        </p:blipFill>
        <p:spPr>
          <a:xfrm>
            <a:off x="1491186" y="1204355"/>
            <a:ext cx="9073117" cy="5403466"/>
          </a:xfrm>
          <a:prstGeom prst="rect">
            <a:avLst/>
          </a:prstGeom>
          <a:ln>
            <a:solidFill>
              <a:schemeClr val="tx1"/>
            </a:solidFill>
          </a:ln>
        </p:spPr>
      </p:pic>
      <p:sp>
        <p:nvSpPr>
          <p:cNvPr id="3" name="Rectangle 2">
            <a:extLst>
              <a:ext uri="{FF2B5EF4-FFF2-40B4-BE49-F238E27FC236}">
                <a16:creationId xmlns:a16="http://schemas.microsoft.com/office/drawing/2014/main" id="{2187A55E-DB1B-44B1-AE79-6DFF4A9D9F46}"/>
              </a:ext>
            </a:extLst>
          </p:cNvPr>
          <p:cNvSpPr/>
          <p:nvPr/>
        </p:nvSpPr>
        <p:spPr bwMode="auto">
          <a:xfrm>
            <a:off x="1505164" y="1325366"/>
            <a:ext cx="6205591" cy="518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6036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theme1.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C090ED0-3BDA-49D1-ACF8-349EABE84FFF}" vid="{D8D86650-D1D0-4F72-97EB-6FE85552E638}"/>
    </a:ext>
  </a:extLst>
</a:theme>
</file>

<file path=ppt/theme/theme2.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C090ED0-3BDA-49D1-ACF8-349EABE84FFF}" vid="{C262C99B-FD24-4C21-8FB0-181F18668B79}"/>
    </a:ext>
  </a:extLst>
</a:theme>
</file>

<file path=ppt/theme/theme3.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C090ED0-3BDA-49D1-ACF8-349EABE84FFF}" vid="{D8D86650-D1D0-4F72-97EB-6FE85552E638}"/>
    </a:ext>
  </a:extLst>
</a:theme>
</file>

<file path=ppt/theme/theme4.xml><?xml version="1.0" encoding="utf-8"?>
<a:theme xmlns:a="http://schemas.openxmlformats.org/drawingml/2006/main" name="1_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5.xml><?xml version="1.0" encoding="utf-8"?>
<a:theme xmlns:a="http://schemas.openxmlformats.org/drawingml/2006/main" name="3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C090ED0-3BDA-49D1-ACF8-349EABE84FFF}" vid="{D8D86650-D1D0-4F72-97EB-6FE85552E638}"/>
    </a:ext>
  </a:extLst>
</a:theme>
</file>

<file path=ppt/theme/theme6.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F-FY19-PPT-Template" id="{D1BC1307-B20D-473F-9519-08FC072C2A64}" vid="{B7AD3282-DD2C-4365-8A34-B28E62C8C3F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E6AE5799258C0438E38F55647EB5033" ma:contentTypeVersion="8" ma:contentTypeDescription="Create a new document." ma:contentTypeScope="" ma:versionID="3a82994e103b246a471cbec86afe7cf1">
  <xsd:schema xmlns:xsd="http://www.w3.org/2001/XMLSchema" xmlns:xs="http://www.w3.org/2001/XMLSchema" xmlns:p="http://schemas.microsoft.com/office/2006/metadata/properties" xmlns:ns3="97ee6932-3042-4f1f-b8c2-a0a5d819edc1" targetNamespace="http://schemas.microsoft.com/office/2006/metadata/properties" ma:root="true" ma:fieldsID="a22f68ad7c52f4ccfa622840eb805357" ns3:_="">
    <xsd:import namespace="97ee6932-3042-4f1f-b8c2-a0a5d819edc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ee6932-3042-4f1f-b8c2-a0a5d819ed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D2B78416-2008-4912-BE0B-D2726F1B29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ee6932-3042-4f1f-b8c2-a0a5d819ed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 Training Day</Template>
  <TotalTime>562</TotalTime>
  <Words>4149</Words>
  <Application>Microsoft Office PowerPoint</Application>
  <PresentationFormat>Widescreen</PresentationFormat>
  <Paragraphs>559</Paragraphs>
  <Slides>53</Slides>
  <Notes>23</Notes>
  <HiddenSlides>3</HiddenSlides>
  <MMClips>0</MMClips>
  <ScaleCrop>false</ScaleCrop>
  <HeadingPairs>
    <vt:vector size="6" baseType="variant">
      <vt:variant>
        <vt:lpstr>Fonts Used</vt:lpstr>
      </vt:variant>
      <vt:variant>
        <vt:i4>12</vt:i4>
      </vt:variant>
      <vt:variant>
        <vt:lpstr>Theme</vt:lpstr>
      </vt:variant>
      <vt:variant>
        <vt:i4>6</vt:i4>
      </vt:variant>
      <vt:variant>
        <vt:lpstr>Slide Titles</vt:lpstr>
      </vt:variant>
      <vt:variant>
        <vt:i4>53</vt:i4>
      </vt:variant>
    </vt:vector>
  </HeadingPairs>
  <TitlesOfParts>
    <vt:vector size="71" baseType="lpstr">
      <vt:lpstr>Arial</vt:lpstr>
      <vt:lpstr>Calibri</vt:lpstr>
      <vt:lpstr>Consolas</vt:lpstr>
      <vt:lpstr>Muli Regular</vt:lpstr>
      <vt:lpstr>Museo Sans For Dell</vt:lpstr>
      <vt:lpstr>Segoe Pro Semibold</vt:lpstr>
      <vt:lpstr>Segoe Semibold</vt:lpstr>
      <vt:lpstr>Segoe UI</vt:lpstr>
      <vt:lpstr>Segoe UI Light</vt:lpstr>
      <vt:lpstr>Segoe UI Semibold</vt:lpstr>
      <vt:lpstr>Segoe UI Semilight</vt:lpstr>
      <vt:lpstr>Wingdings</vt:lpstr>
      <vt:lpstr>1_Dynamics 365</vt:lpstr>
      <vt:lpstr>WHITE TEMPLATE</vt:lpstr>
      <vt:lpstr>2_Dynamics 365</vt:lpstr>
      <vt:lpstr>1_WHITE TEMPLATE</vt:lpstr>
      <vt:lpstr>3_Dynamics 365</vt:lpstr>
      <vt:lpstr>1_5-50195_Microsoft_Build_Template</vt:lpstr>
      <vt:lpstr>PowerPoint Presentation</vt:lpstr>
      <vt:lpstr>   Presentation title</vt:lpstr>
      <vt:lpstr>About Me…</vt:lpstr>
      <vt:lpstr>Workshop delivery</vt:lpstr>
      <vt:lpstr>Workshop delivery</vt:lpstr>
      <vt:lpstr>Application Migration</vt:lpstr>
      <vt:lpstr>Azure Assessments</vt:lpstr>
      <vt:lpstr>What do customers want to migrate to the Cloud?</vt:lpstr>
      <vt:lpstr>Microsoft Cloud Adoption Framework for Azure</vt:lpstr>
      <vt:lpstr>Common migration and innovation triggers</vt:lpstr>
      <vt:lpstr>Azure migration journey</vt:lpstr>
      <vt:lpstr>Migration Phases - Assess</vt:lpstr>
      <vt:lpstr>Migration Phases - Migrate</vt:lpstr>
      <vt:lpstr>Migration Phases - Optimize</vt:lpstr>
      <vt:lpstr>Azure migration vision </vt:lpstr>
      <vt:lpstr>Azure is the only consistent hybrid cloud</vt:lpstr>
      <vt:lpstr>Get started at no cost: Built-in tools at each stage</vt:lpstr>
      <vt:lpstr>Choice of tools for every stage and every requirement</vt:lpstr>
      <vt:lpstr>Azure Discovery and Assessment Tools</vt:lpstr>
      <vt:lpstr>Discovery and Assessment using MAP Toolkit</vt:lpstr>
      <vt:lpstr>Microsoft Assessment and Planning (MAP) Toolkit </vt:lpstr>
      <vt:lpstr>MAP Toolkit</vt:lpstr>
      <vt:lpstr>Demo</vt:lpstr>
      <vt:lpstr>Discovery and Assessment using Azure Migrate</vt:lpstr>
      <vt:lpstr>Azure Migrate – Assessment Tools</vt:lpstr>
      <vt:lpstr>Azure Migrate for Discovery and Assessment</vt:lpstr>
      <vt:lpstr>Azure Migrate – Process flow for VMware hosts </vt:lpstr>
      <vt:lpstr>Azure Migrate – Discovery</vt:lpstr>
      <vt:lpstr>Azure Migrate Features</vt:lpstr>
      <vt:lpstr>Azure Migrate – Assessment </vt:lpstr>
      <vt:lpstr>Creating a Project</vt:lpstr>
      <vt:lpstr>Assessing Readiness</vt:lpstr>
      <vt:lpstr>Assessing VM Sizing</vt:lpstr>
      <vt:lpstr>Estimating Cost</vt:lpstr>
      <vt:lpstr>Service Map</vt:lpstr>
      <vt:lpstr>Demo</vt:lpstr>
      <vt:lpstr>Assessment of SQL Server Databases</vt:lpstr>
      <vt:lpstr>Azure Data Migration Assistant (SQL)</vt:lpstr>
      <vt:lpstr>Azure Data Migration Assistant (SQL)</vt:lpstr>
      <vt:lpstr>Azure Data Migration Assistant (SQL)</vt:lpstr>
      <vt:lpstr>Azure Data Migration Assistant (SQL)</vt:lpstr>
      <vt:lpstr>Azure Data Migration Assistant (SQL)</vt:lpstr>
      <vt:lpstr>Azure Data Migration Assistant (SQL)</vt:lpstr>
      <vt:lpstr>Demo</vt:lpstr>
      <vt:lpstr>Assessment of (Web) Application Servers</vt:lpstr>
      <vt:lpstr>Azure App Service Migration Assistant (Web)</vt:lpstr>
      <vt:lpstr>Azure App Service Migration Assistant (Web)</vt:lpstr>
      <vt:lpstr>Azure App Service Migration Assistant (Web)</vt:lpstr>
      <vt:lpstr>Demo</vt:lpstr>
      <vt:lpstr>Section Take-Aways</vt:lpstr>
      <vt:lpstr>PowerPoint Presentation</vt:lpstr>
      <vt:lpstr>Next Module…</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gt;</dc:subject>
  <dc:creator>Peter De Tender</dc:creator>
  <cp:keywords/>
  <dc:description/>
  <cp:lastModifiedBy>Peter De Tender</cp:lastModifiedBy>
  <cp:revision>1</cp:revision>
  <dcterms:created xsi:type="dcterms:W3CDTF">2019-08-15T14:23:15Z</dcterms:created>
  <dcterms:modified xsi:type="dcterms:W3CDTF">2019-08-19T21:0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6AE5799258C0438E38F55647EB5033</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